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32" r:id="rId2"/>
  </p:sldMasterIdLst>
  <p:notesMasterIdLst>
    <p:notesMasterId r:id="rId21"/>
  </p:notesMasterIdLst>
  <p:sldIdLst>
    <p:sldId id="2147483315" r:id="rId3"/>
    <p:sldId id="2147483372" r:id="rId4"/>
    <p:sldId id="2147483373" r:id="rId5"/>
    <p:sldId id="2147483419" r:id="rId6"/>
    <p:sldId id="2147483420" r:id="rId7"/>
    <p:sldId id="2147483423" r:id="rId8"/>
    <p:sldId id="2147483441" r:id="rId9"/>
    <p:sldId id="2147483421" r:id="rId10"/>
    <p:sldId id="2147483422" r:id="rId11"/>
    <p:sldId id="2147483433" r:id="rId12"/>
    <p:sldId id="2147483434" r:id="rId13"/>
    <p:sldId id="2147483438" r:id="rId14"/>
    <p:sldId id="2147483439" r:id="rId15"/>
    <p:sldId id="2147483440" r:id="rId16"/>
    <p:sldId id="2147483444" r:id="rId17"/>
    <p:sldId id="2147483442" r:id="rId18"/>
    <p:sldId id="2147483443" r:id="rId19"/>
    <p:sldId id="2147478332" r:id="rId20"/>
  </p:sldIdLst>
  <p:sldSz cx="12192000" cy="6858000"/>
  <p:notesSz cx="6797675" cy="9859963"/>
  <p:custDataLst>
    <p:tags r:id="rId2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1FD894EB-04BD-44F9-AF7B-D4BAD248A74A}">
          <p14:sldIdLst>
            <p14:sldId id="2147483315"/>
            <p14:sldId id="2147483372"/>
            <p14:sldId id="2147483373"/>
            <p14:sldId id="2147483419"/>
            <p14:sldId id="2147483420"/>
            <p14:sldId id="2147483423"/>
            <p14:sldId id="2147483441"/>
            <p14:sldId id="2147483421"/>
            <p14:sldId id="2147483422"/>
            <p14:sldId id="2147483433"/>
            <p14:sldId id="2147483434"/>
            <p14:sldId id="2147483438"/>
            <p14:sldId id="2147483439"/>
            <p14:sldId id="2147483440"/>
            <p14:sldId id="2147483444"/>
            <p14:sldId id="2147483442"/>
            <p14:sldId id="2147483443"/>
            <p14:sldId id="21474783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66" userDrawn="1">
          <p15:clr>
            <a:srgbClr val="A4A3A4"/>
          </p15:clr>
        </p15:guide>
        <p15:guide id="5" pos="2933" userDrawn="1">
          <p15:clr>
            <a:srgbClr val="A4A3A4"/>
          </p15:clr>
        </p15:guide>
        <p15:guide id="7" pos="6743" userDrawn="1">
          <p15:clr>
            <a:srgbClr val="A4A3A4"/>
          </p15:clr>
        </p15:guide>
        <p15:guide id="8" orient="horz" pos="595" userDrawn="1">
          <p15:clr>
            <a:srgbClr val="A4A3A4"/>
          </p15:clr>
        </p15:guide>
        <p15:guide id="10" pos="6966" userDrawn="1">
          <p15:clr>
            <a:srgbClr val="A4A3A4"/>
          </p15:clr>
        </p15:guide>
        <p15:guide id="11" orient="horz" pos="890" userDrawn="1">
          <p15:clr>
            <a:srgbClr val="A4A3A4"/>
          </p15:clr>
        </p15:guide>
        <p15:guide id="12" orient="horz" pos="2387" userDrawn="1">
          <p15:clr>
            <a:srgbClr val="A4A3A4"/>
          </p15:clr>
        </p15:guide>
        <p15:guide id="13" orient="horz" pos="3997" userDrawn="1">
          <p15:clr>
            <a:srgbClr val="A4A3A4"/>
          </p15:clr>
        </p15:guide>
        <p15:guide id="14" orient="horz" pos="1820" userDrawn="1">
          <p15:clr>
            <a:srgbClr val="A4A3A4"/>
          </p15:clr>
        </p15:guide>
        <p15:guide id="15" orient="horz" pos="288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A4"/>
    <a:srgbClr val="005471"/>
    <a:srgbClr val="C00000"/>
    <a:srgbClr val="2AA798"/>
    <a:srgbClr val="32C8B6"/>
    <a:srgbClr val="002630"/>
    <a:srgbClr val="E8E8E8"/>
    <a:srgbClr val="009999"/>
    <a:srgbClr val="7F7F7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FC869D-E65A-42A8-8676-0F1CC47404A1}" v="137" dt="2025-07-14T16:23:26.9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5" autoAdjust="0"/>
    <p:restoredTop sz="96283" autoAdjust="0"/>
  </p:normalViewPr>
  <p:slideViewPr>
    <p:cSldViewPr snapToGrid="0" showGuides="1">
      <p:cViewPr varScale="1">
        <p:scale>
          <a:sx n="107" d="100"/>
          <a:sy n="107" d="100"/>
        </p:scale>
        <p:origin x="648" y="102"/>
      </p:cViewPr>
      <p:guideLst>
        <p:guide orient="horz" pos="3566"/>
        <p:guide pos="2933"/>
        <p:guide pos="6743"/>
        <p:guide orient="horz" pos="595"/>
        <p:guide pos="6966"/>
        <p:guide orient="horz" pos="890"/>
        <p:guide orient="horz" pos="2387"/>
        <p:guide orient="horz" pos="3997"/>
        <p:guide orient="horz" pos="1820"/>
        <p:guide orient="horz" pos="2886"/>
      </p:guideLst>
    </p:cSldViewPr>
  </p:slideViewPr>
  <p:notesTextViewPr>
    <p:cViewPr>
      <p:scale>
        <a:sx n="400" d="100"/>
        <a:sy n="4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narriz Herrador Iñaki" userId="11637121-8aee-420b-9db7-54651cb06796" providerId="ADAL" clId="{A5A63F93-E248-43A4-BFE0-94814416B416}"/>
    <pc:docChg chg="undo custSel addSld modSld modSection">
      <pc:chgData name="Munarriz Herrador Iñaki" userId="11637121-8aee-420b-9db7-54651cb06796" providerId="ADAL" clId="{A5A63F93-E248-43A4-BFE0-94814416B416}" dt="2024-06-28T11:30:24.575" v="264" actId="1076"/>
      <pc:docMkLst>
        <pc:docMk/>
      </pc:docMkLst>
      <pc:sldChg chg="addSp delSp modSp add mod">
        <pc:chgData name="Munarriz Herrador Iñaki" userId="11637121-8aee-420b-9db7-54651cb06796" providerId="ADAL" clId="{A5A63F93-E248-43A4-BFE0-94814416B416}" dt="2024-06-28T11:30:24.575" v="264" actId="1076"/>
        <pc:sldMkLst>
          <pc:docMk/>
          <pc:sldMk cId="3749504679" sldId="2147483318"/>
        </pc:sldMkLst>
      </pc:sldChg>
    </pc:docChg>
  </pc:docChgLst>
  <pc:docChgLst>
    <pc:chgData name="Munarriz Herrador Iñaki" userId="11637121-8aee-420b-9db7-54651cb06796" providerId="ADAL" clId="{40696C48-91B3-44FD-BACC-CB4D5CD22FD1}"/>
    <pc:docChg chg="undo custSel addSld delSld modSld modSection">
      <pc:chgData name="Munarriz Herrador Iñaki" userId="11637121-8aee-420b-9db7-54651cb06796" providerId="ADAL" clId="{40696C48-91B3-44FD-BACC-CB4D5CD22FD1}" dt="2024-06-05T14:36:47.320" v="3083" actId="14100"/>
      <pc:docMkLst>
        <pc:docMk/>
      </pc:docMkLst>
      <pc:sldChg chg="del">
        <pc:chgData name="Munarriz Herrador Iñaki" userId="11637121-8aee-420b-9db7-54651cb06796" providerId="ADAL" clId="{40696C48-91B3-44FD-BACC-CB4D5CD22FD1}" dt="2024-05-20T16:41:50.457" v="529" actId="47"/>
        <pc:sldMkLst>
          <pc:docMk/>
          <pc:sldMk cId="1754681115" sldId="435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2097821841" sldId="459"/>
        </pc:sldMkLst>
      </pc:sldChg>
      <pc:sldChg chg="del">
        <pc:chgData name="Munarriz Herrador Iñaki" userId="11637121-8aee-420b-9db7-54651cb06796" providerId="ADAL" clId="{40696C48-91B3-44FD-BACC-CB4D5CD22FD1}" dt="2024-05-20T16:41:49.701" v="528" actId="47"/>
        <pc:sldMkLst>
          <pc:docMk/>
          <pc:sldMk cId="2722343528" sldId="480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2933988909" sldId="490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1586747582" sldId="49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434126347" sldId="49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529774298" sldId="498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048187816" sldId="500"/>
        </pc:sldMkLst>
      </pc:sldChg>
      <pc:sldChg chg="modSp add del mod">
        <pc:chgData name="Munarriz Herrador Iñaki" userId="11637121-8aee-420b-9db7-54651cb06796" providerId="ADAL" clId="{40696C48-91B3-44FD-BACC-CB4D5CD22FD1}" dt="2024-05-21T07:38:48.657" v="1110" actId="14100"/>
        <pc:sldMkLst>
          <pc:docMk/>
          <pc:sldMk cId="1616658181" sldId="806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656780474" sldId="80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900307273" sldId="808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3015382304" sldId="809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263641396" sldId="810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802874699" sldId="811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005477179" sldId="812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462443189" sldId="813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874219090" sldId="814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292986524" sldId="81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3344288659" sldId="816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71431928" sldId="817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685783883" sldId="823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1903546216" sldId="824"/>
        </pc:sldMkLst>
      </pc:sldChg>
      <pc:sldChg chg="del">
        <pc:chgData name="Munarriz Herrador Iñaki" userId="11637121-8aee-420b-9db7-54651cb06796" providerId="ADAL" clId="{40696C48-91B3-44FD-BACC-CB4D5CD22FD1}" dt="2024-05-20T08:04:12.559" v="0" actId="47"/>
        <pc:sldMkLst>
          <pc:docMk/>
          <pc:sldMk cId="648639592" sldId="825"/>
        </pc:sldMkLst>
      </pc:sldChg>
      <pc:sldChg chg="del">
        <pc:chgData name="Munarriz Herrador Iñaki" userId="11637121-8aee-420b-9db7-54651cb06796" providerId="ADAL" clId="{40696C48-91B3-44FD-BACC-CB4D5CD22FD1}" dt="2024-05-20T08:04:21.274" v="1" actId="47"/>
        <pc:sldMkLst>
          <pc:docMk/>
          <pc:sldMk cId="2715031666" sldId="826"/>
        </pc:sldMkLst>
      </pc:sldChg>
      <pc:sldChg chg="addSp delSp modSp mod">
        <pc:chgData name="Munarriz Herrador Iñaki" userId="11637121-8aee-420b-9db7-54651cb06796" providerId="ADAL" clId="{40696C48-91B3-44FD-BACC-CB4D5CD22FD1}" dt="2024-05-21T08:26:18.265" v="1733" actId="1035"/>
        <pc:sldMkLst>
          <pc:docMk/>
          <pc:sldMk cId="128532313" sldId="827"/>
        </pc:sldMkLst>
      </pc:sldChg>
      <pc:sldChg chg="addSp delSp modSp add mod">
        <pc:chgData name="Munarriz Herrador Iñaki" userId="11637121-8aee-420b-9db7-54651cb06796" providerId="ADAL" clId="{40696C48-91B3-44FD-BACC-CB4D5CD22FD1}" dt="2024-05-20T17:19:50.365" v="628" actId="478"/>
        <pc:sldMkLst>
          <pc:docMk/>
          <pc:sldMk cId="3904767837" sldId="828"/>
        </pc:sldMkLst>
      </pc:sldChg>
      <pc:sldChg chg="addSp delSp modSp add mod">
        <pc:chgData name="Munarriz Herrador Iñaki" userId="11637121-8aee-420b-9db7-54651cb06796" providerId="ADAL" clId="{40696C48-91B3-44FD-BACC-CB4D5CD22FD1}" dt="2024-05-21T08:32:10.217" v="1883" actId="20577"/>
        <pc:sldMkLst>
          <pc:docMk/>
          <pc:sldMk cId="1054402032" sldId="829"/>
        </pc:sldMkLst>
      </pc:sldChg>
      <pc:sldChg chg="delSp modSp add mod">
        <pc:chgData name="Munarriz Herrador Iñaki" userId="11637121-8aee-420b-9db7-54651cb06796" providerId="ADAL" clId="{40696C48-91B3-44FD-BACC-CB4D5CD22FD1}" dt="2024-05-20T18:08:47.991" v="1079" actId="948"/>
        <pc:sldMkLst>
          <pc:docMk/>
          <pc:sldMk cId="3474182341" sldId="830"/>
        </pc:sldMkLst>
      </pc:sldChg>
      <pc:sldChg chg="add">
        <pc:chgData name="Munarriz Herrador Iñaki" userId="11637121-8aee-420b-9db7-54651cb06796" providerId="ADAL" clId="{40696C48-91B3-44FD-BACC-CB4D5CD22FD1}" dt="2024-05-21T07:43:27.262" v="1128"/>
        <pc:sldMkLst>
          <pc:docMk/>
          <pc:sldMk cId="3682512932" sldId="2147478332"/>
        </pc:sldMkLst>
      </pc:sldChg>
      <pc:sldChg chg="modSp add mod">
        <pc:chgData name="Munarriz Herrador Iñaki" userId="11637121-8aee-420b-9db7-54651cb06796" providerId="ADAL" clId="{40696C48-91B3-44FD-BACC-CB4D5CD22FD1}" dt="2024-05-21T07:43:01.889" v="1127" actId="20577"/>
        <pc:sldMkLst>
          <pc:docMk/>
          <pc:sldMk cId="0" sldId="2147483315"/>
        </pc:sldMkLst>
      </pc:sldChg>
      <pc:sldChg chg="addSp delSp modSp add mod">
        <pc:chgData name="Munarriz Herrador Iñaki" userId="11637121-8aee-420b-9db7-54651cb06796" providerId="ADAL" clId="{40696C48-91B3-44FD-BACC-CB4D5CD22FD1}" dt="2024-06-05T14:36:47.320" v="3083" actId="14100"/>
        <pc:sldMkLst>
          <pc:docMk/>
          <pc:sldMk cId="837960401" sldId="2147483316"/>
        </pc:sldMkLst>
      </pc:sldChg>
      <pc:sldChg chg="addSp modSp add mod">
        <pc:chgData name="Munarriz Herrador Iñaki" userId="11637121-8aee-420b-9db7-54651cb06796" providerId="ADAL" clId="{40696C48-91B3-44FD-BACC-CB4D5CD22FD1}" dt="2024-06-05T11:45:50.484" v="1887" actId="1076"/>
        <pc:sldMkLst>
          <pc:docMk/>
          <pc:sldMk cId="402773593" sldId="2147483317"/>
        </pc:sldMkLst>
      </pc:sldChg>
      <pc:sldMasterChg chg="delSldLayout">
        <pc:chgData name="Munarriz Herrador Iñaki" userId="11637121-8aee-420b-9db7-54651cb06796" providerId="ADAL" clId="{40696C48-91B3-44FD-BACC-CB4D5CD22FD1}" dt="2024-05-20T08:04:21.274" v="1" actId="47"/>
        <pc:sldMasterMkLst>
          <pc:docMk/>
          <pc:sldMasterMk cId="3682351262" sldId="2147483732"/>
        </pc:sldMasterMkLst>
        <pc:sldLayoutChg chg="del">
          <pc:chgData name="Munarriz Herrador Iñaki" userId="11637121-8aee-420b-9db7-54651cb06796" providerId="ADAL" clId="{40696C48-91B3-44FD-BACC-CB4D5CD22FD1}" dt="2024-05-20T08:04:12.559" v="0" actId="47"/>
          <pc:sldLayoutMkLst>
            <pc:docMk/>
            <pc:sldMasterMk cId="3682351262" sldId="2147483732"/>
            <pc:sldLayoutMk cId="2229808591" sldId="2147483882"/>
          </pc:sldLayoutMkLst>
        </pc:sldLayoutChg>
        <pc:sldLayoutChg chg="del">
          <pc:chgData name="Munarriz Herrador Iñaki" userId="11637121-8aee-420b-9db7-54651cb06796" providerId="ADAL" clId="{40696C48-91B3-44FD-BACC-CB4D5CD22FD1}" dt="2024-05-20T08:04:21.274" v="1" actId="47"/>
          <pc:sldLayoutMkLst>
            <pc:docMk/>
            <pc:sldMasterMk cId="3682351262" sldId="2147483732"/>
            <pc:sldLayoutMk cId="3799599943" sldId="2147483883"/>
          </pc:sldLayoutMkLst>
        </pc:sldLayoutChg>
        <pc:sldLayoutChg chg="del">
          <pc:chgData name="Munarriz Herrador Iñaki" userId="11637121-8aee-420b-9db7-54651cb06796" providerId="ADAL" clId="{40696C48-91B3-44FD-BACC-CB4D5CD22FD1}" dt="2024-05-20T08:04:12.559" v="0" actId="47"/>
          <pc:sldLayoutMkLst>
            <pc:docMk/>
            <pc:sldMasterMk cId="3682351262" sldId="2147483732"/>
            <pc:sldLayoutMk cId="3704372388" sldId="2147483884"/>
          </pc:sldLayoutMkLst>
        </pc:sldLayoutChg>
      </pc:sldMasterChg>
    </pc:docChg>
  </pc:docChgLst>
  <pc:docChgLst>
    <pc:chgData name="Munarriz Herrador Iñaki" userId="11637121-8aee-420b-9db7-54651cb06796" providerId="ADAL" clId="{CAB74CB7-6DA4-4355-94E7-F63F4DFDD9E9}"/>
    <pc:docChg chg="undo redo custSel addSld delSld modSld sldOrd modSection">
      <pc:chgData name="Munarriz Herrador Iñaki" userId="11637121-8aee-420b-9db7-54651cb06796" providerId="ADAL" clId="{CAB74CB7-6DA4-4355-94E7-F63F4DFDD9E9}" dt="2025-07-03T14:10:34.715" v="1609" actId="20577"/>
      <pc:docMkLst>
        <pc:docMk/>
      </pc:docMkLst>
      <pc:sldChg chg="modSp mod">
        <pc:chgData name="Munarriz Herrador Iñaki" userId="11637121-8aee-420b-9db7-54651cb06796" providerId="ADAL" clId="{CAB74CB7-6DA4-4355-94E7-F63F4DFDD9E9}" dt="2025-07-03T14:10:34.715" v="1609" actId="20577"/>
        <pc:sldMkLst>
          <pc:docMk/>
          <pc:sldMk cId="0" sldId="2147483315"/>
        </pc:sldMkLst>
        <pc:spChg chg="mod">
          <ac:chgData name="Munarriz Herrador Iñaki" userId="11637121-8aee-420b-9db7-54651cb06796" providerId="ADAL" clId="{CAB74CB7-6DA4-4355-94E7-F63F4DFDD9E9}" dt="2025-06-26T09:56:06.521" v="3" actId="20577"/>
          <ac:spMkLst>
            <pc:docMk/>
            <pc:sldMk cId="0" sldId="2147483315"/>
            <ac:spMk id="6" creationId="{00000000-0000-0000-0000-000000000000}"/>
          </ac:spMkLst>
        </pc:spChg>
        <pc:spChg chg="mod">
          <ac:chgData name="Munarriz Herrador Iñaki" userId="11637121-8aee-420b-9db7-54651cb06796" providerId="ADAL" clId="{CAB74CB7-6DA4-4355-94E7-F63F4DFDD9E9}" dt="2025-07-03T14:10:34.715" v="1609" actId="20577"/>
          <ac:spMkLst>
            <pc:docMk/>
            <pc:sldMk cId="0" sldId="2147483315"/>
            <ac:spMk id="11" creationId="{D2ABA22D-F23D-20AB-0DA8-B06D42BD659D}"/>
          </ac:spMkLst>
        </pc:spChg>
      </pc:sldChg>
      <pc:sldChg chg="modSp mod">
        <pc:chgData name="Munarriz Herrador Iñaki" userId="11637121-8aee-420b-9db7-54651cb06796" providerId="ADAL" clId="{CAB74CB7-6DA4-4355-94E7-F63F4DFDD9E9}" dt="2025-06-30T15:43:52.306" v="1409" actId="20577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CAB74CB7-6DA4-4355-94E7-F63F4DFDD9E9}" dt="2025-06-30T15:43:52.306" v="1409" actId="20577"/>
          <ac:spMkLst>
            <pc:docMk/>
            <pc:sldMk cId="88093545" sldId="2147483372"/>
            <ac:spMk id="8" creationId="{B653FEEB-5B1B-5220-1426-D789485673FE}"/>
          </ac:spMkLst>
        </pc:spChg>
      </pc:sldChg>
      <pc:sldChg chg="addSp delSp modSp mod">
        <pc:chgData name="Munarriz Herrador Iñaki" userId="11637121-8aee-420b-9db7-54651cb06796" providerId="ADAL" clId="{CAB74CB7-6DA4-4355-94E7-F63F4DFDD9E9}" dt="2025-06-27T11:36:17.207" v="1364"/>
        <pc:sldMkLst>
          <pc:docMk/>
          <pc:sldMk cId="1243781170" sldId="2147483373"/>
        </pc:sldMkLst>
        <pc:spChg chg="add del mod">
          <ac:chgData name="Munarriz Herrador Iñaki" userId="11637121-8aee-420b-9db7-54651cb06796" providerId="ADAL" clId="{CAB74CB7-6DA4-4355-94E7-F63F4DFDD9E9}" dt="2025-06-27T11:36:17.207" v="1364"/>
          <ac:spMkLst>
            <pc:docMk/>
            <pc:sldMk cId="1243781170" sldId="2147483373"/>
            <ac:spMk id="6" creationId="{8BEF89A0-9B50-124A-6F46-17A2C809E6F0}"/>
          </ac:spMkLst>
        </pc:spChg>
        <pc:spChg chg="mod topLvl">
          <ac:chgData name="Munarriz Herrador Iñaki" userId="11637121-8aee-420b-9db7-54651cb06796" providerId="ADAL" clId="{CAB74CB7-6DA4-4355-94E7-F63F4DFDD9E9}" dt="2025-06-27T11:34:33.778" v="1357" actId="164"/>
          <ac:spMkLst>
            <pc:docMk/>
            <pc:sldMk cId="1243781170" sldId="2147483373"/>
            <ac:spMk id="11" creationId="{5BB125DB-F813-949A-99A7-A9A6AC44B387}"/>
          </ac:spMkLst>
        </pc:spChg>
        <pc:spChg chg="mod ord topLvl">
          <ac:chgData name="Munarriz Herrador Iñaki" userId="11637121-8aee-420b-9db7-54651cb06796" providerId="ADAL" clId="{CAB74CB7-6DA4-4355-94E7-F63F4DFDD9E9}" dt="2025-06-27T11:34:33.778" v="1357" actId="164"/>
          <ac:spMkLst>
            <pc:docMk/>
            <pc:sldMk cId="1243781170" sldId="2147483373"/>
            <ac:spMk id="14" creationId="{E3CF0BD5-F2D8-4DDE-B1A9-1CBB336FB670}"/>
          </ac:spMkLst>
        </pc:spChg>
        <pc:spChg chg="mod topLvl">
          <ac:chgData name="Munarriz Herrador Iñaki" userId="11637121-8aee-420b-9db7-54651cb06796" providerId="ADAL" clId="{CAB74CB7-6DA4-4355-94E7-F63F4DFDD9E9}" dt="2025-06-27T11:34:42.804" v="1358" actId="1076"/>
          <ac:spMkLst>
            <pc:docMk/>
            <pc:sldMk cId="1243781170" sldId="2147483373"/>
            <ac:spMk id="16" creationId="{4FEB89AF-6493-CA4A-A375-523CA0F523C1}"/>
          </ac:spMkLst>
        </pc:spChg>
        <pc:spChg chg="mod topLvl">
          <ac:chgData name="Munarriz Herrador Iñaki" userId="11637121-8aee-420b-9db7-54651cb06796" providerId="ADAL" clId="{CAB74CB7-6DA4-4355-94E7-F63F4DFDD9E9}" dt="2025-06-27T11:34:18.943" v="1354" actId="165"/>
          <ac:spMkLst>
            <pc:docMk/>
            <pc:sldMk cId="1243781170" sldId="2147483373"/>
            <ac:spMk id="17" creationId="{E489FA0E-5146-4715-B5C6-F21415523D81}"/>
          </ac:spMkLst>
        </pc:spChg>
        <pc:spChg chg="mod topLvl">
          <ac:chgData name="Munarriz Herrador Iñaki" userId="11637121-8aee-420b-9db7-54651cb06796" providerId="ADAL" clId="{CAB74CB7-6DA4-4355-94E7-F63F4DFDD9E9}" dt="2025-06-27T11:34:33.778" v="1357" actId="164"/>
          <ac:spMkLst>
            <pc:docMk/>
            <pc:sldMk cId="1243781170" sldId="2147483373"/>
            <ac:spMk id="25" creationId="{3DC411D3-02E6-2C49-577E-431E3D1FF260}"/>
          </ac:spMkLst>
        </pc:spChg>
        <pc:spChg chg="mod topLvl">
          <ac:chgData name="Munarriz Herrador Iñaki" userId="11637121-8aee-420b-9db7-54651cb06796" providerId="ADAL" clId="{CAB74CB7-6DA4-4355-94E7-F63F4DFDD9E9}" dt="2025-06-27T11:34:21.968" v="1355" actId="14100"/>
          <ac:spMkLst>
            <pc:docMk/>
            <pc:sldMk cId="1243781170" sldId="2147483373"/>
            <ac:spMk id="27" creationId="{A18CB189-6B2F-FF05-C878-C05BFBA1E48F}"/>
          </ac:spMkLst>
        </pc:spChg>
        <pc:spChg chg="mod topLvl">
          <ac:chgData name="Munarriz Herrador Iñaki" userId="11637121-8aee-420b-9db7-54651cb06796" providerId="ADAL" clId="{CAB74CB7-6DA4-4355-94E7-F63F4DFDD9E9}" dt="2025-06-27T11:34:18.943" v="1354" actId="165"/>
          <ac:spMkLst>
            <pc:docMk/>
            <pc:sldMk cId="1243781170" sldId="2147483373"/>
            <ac:spMk id="28" creationId="{6DC94D33-0540-8411-9AFF-BC554570FD22}"/>
          </ac:spMkLst>
        </pc:spChg>
        <pc:spChg chg="mod">
          <ac:chgData name="Munarriz Herrador Iñaki" userId="11637121-8aee-420b-9db7-54651cb06796" providerId="ADAL" clId="{CAB74CB7-6DA4-4355-94E7-F63F4DFDD9E9}" dt="2025-06-27T11:07:56.044" v="1324" actId="20577"/>
          <ac:spMkLst>
            <pc:docMk/>
            <pc:sldMk cId="1243781170" sldId="2147483373"/>
            <ac:spMk id="38" creationId="{691FDFAE-1869-C9D8-593E-52E54B8D9BA8}"/>
          </ac:spMkLst>
        </pc:spChg>
        <pc:spChg chg="mod">
          <ac:chgData name="Munarriz Herrador Iñaki" userId="11637121-8aee-420b-9db7-54651cb06796" providerId="ADAL" clId="{CAB74CB7-6DA4-4355-94E7-F63F4DFDD9E9}" dt="2025-06-27T11:08:09.820" v="1327" actId="20577"/>
          <ac:spMkLst>
            <pc:docMk/>
            <pc:sldMk cId="1243781170" sldId="2147483373"/>
            <ac:spMk id="39" creationId="{CC4DDFF4-761D-995B-6DF0-1E7532E18886}"/>
          </ac:spMkLst>
        </pc:spChg>
        <pc:spChg chg="mod">
          <ac:chgData name="Munarriz Herrador Iñaki" userId="11637121-8aee-420b-9db7-54651cb06796" providerId="ADAL" clId="{CAB74CB7-6DA4-4355-94E7-F63F4DFDD9E9}" dt="2025-06-27T11:34:48.392" v="1359" actId="14100"/>
          <ac:spMkLst>
            <pc:docMk/>
            <pc:sldMk cId="1243781170" sldId="2147483373"/>
            <ac:spMk id="41" creationId="{1D17B2A6-1FC3-8256-10F3-3AFCA2296B20}"/>
          </ac:spMkLst>
        </pc:spChg>
        <pc:spChg chg="mod">
          <ac:chgData name="Munarriz Herrador Iñaki" userId="11637121-8aee-420b-9db7-54651cb06796" providerId="ADAL" clId="{CAB74CB7-6DA4-4355-94E7-F63F4DFDD9E9}" dt="2025-06-27T10:54:11.661" v="1245" actId="20577"/>
          <ac:spMkLst>
            <pc:docMk/>
            <pc:sldMk cId="1243781170" sldId="2147483373"/>
            <ac:spMk id="42" creationId="{9320906B-9399-F7D8-A216-3D8FA59FFFD9}"/>
          </ac:spMkLst>
        </pc:spChg>
        <pc:spChg chg="mod">
          <ac:chgData name="Munarriz Herrador Iñaki" userId="11637121-8aee-420b-9db7-54651cb06796" providerId="ADAL" clId="{CAB74CB7-6DA4-4355-94E7-F63F4DFDD9E9}" dt="2025-06-27T11:07:34.967" v="1315" actId="20577"/>
          <ac:spMkLst>
            <pc:docMk/>
            <pc:sldMk cId="1243781170" sldId="2147483373"/>
            <ac:spMk id="44" creationId="{9947456F-95BE-E86D-DF69-B445F45E839E}"/>
          </ac:spMkLst>
        </pc:spChg>
        <pc:spChg chg="mod">
          <ac:chgData name="Munarriz Herrador Iñaki" userId="11637121-8aee-420b-9db7-54651cb06796" providerId="ADAL" clId="{CAB74CB7-6DA4-4355-94E7-F63F4DFDD9E9}" dt="2025-06-27T10:54:21.278" v="1254" actId="20577"/>
          <ac:spMkLst>
            <pc:docMk/>
            <pc:sldMk cId="1243781170" sldId="2147483373"/>
            <ac:spMk id="46" creationId="{2911DFDA-7CBF-CE55-8527-50CF72078341}"/>
          </ac:spMkLst>
        </pc:spChg>
        <pc:grpChg chg="add mod">
          <ac:chgData name="Munarriz Herrador Iñaki" userId="11637121-8aee-420b-9db7-54651cb06796" providerId="ADAL" clId="{CAB74CB7-6DA4-4355-94E7-F63F4DFDD9E9}" dt="2025-06-27T11:34:33.778" v="1357" actId="164"/>
          <ac:grpSpMkLst>
            <pc:docMk/>
            <pc:sldMk cId="1243781170" sldId="2147483373"/>
            <ac:grpSpMk id="4" creationId="{C33CD93C-1910-AC2F-0792-B6F0E500F84C}"/>
          </ac:grpSpMkLst>
        </pc:grpChg>
        <pc:grpChg chg="mod">
          <ac:chgData name="Munarriz Herrador Iñaki" userId="11637121-8aee-420b-9db7-54651cb06796" providerId="ADAL" clId="{CAB74CB7-6DA4-4355-94E7-F63F4DFDD9E9}" dt="2025-06-27T11:34:06.651" v="1351" actId="14100"/>
          <ac:grpSpMkLst>
            <pc:docMk/>
            <pc:sldMk cId="1243781170" sldId="2147483373"/>
            <ac:grpSpMk id="43" creationId="{64ED50A7-AB2A-7F01-F5AB-15829F2C15D0}"/>
          </ac:grpSpMkLst>
        </pc:grpChg>
      </pc:sldChg>
      <pc:sldChg chg="addSp delSp modSp mod">
        <pc:chgData name="Munarriz Herrador Iñaki" userId="11637121-8aee-420b-9db7-54651cb06796" providerId="ADAL" clId="{CAB74CB7-6DA4-4355-94E7-F63F4DFDD9E9}" dt="2025-06-27T10:54:47.297" v="1263" actId="20577"/>
        <pc:sldMkLst>
          <pc:docMk/>
          <pc:sldMk cId="2085739677" sldId="2147483401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2425737149" sldId="2147483402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2876304681" sldId="2147483403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1567361310" sldId="2147483404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559595493" sldId="2147483405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1724892760" sldId="2147483406"/>
        </pc:sldMkLst>
      </pc:sldChg>
      <pc:sldChg chg="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3545608862" sldId="2147483407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624714175" sldId="2147483408"/>
        </pc:sldMkLst>
      </pc:sldChg>
      <pc:sldChg chg="addSp delSp modSp mod">
        <pc:chgData name="Munarriz Herrador Iñaki" userId="11637121-8aee-420b-9db7-54651cb06796" providerId="ADAL" clId="{CAB74CB7-6DA4-4355-94E7-F63F4DFDD9E9}" dt="2025-06-30T16:21:35.648" v="1607" actId="554"/>
        <pc:sldMkLst>
          <pc:docMk/>
          <pc:sldMk cId="2428685999" sldId="2147483409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792640642" sldId="2147483410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2680299840" sldId="2147483412"/>
        </pc:sldMkLst>
      </pc:sldChg>
      <pc:sldChg chg="del">
        <pc:chgData name="Munarriz Herrador Iñaki" userId="11637121-8aee-420b-9db7-54651cb06796" providerId="ADAL" clId="{CAB74CB7-6DA4-4355-94E7-F63F4DFDD9E9}" dt="2025-06-27T08:43:52.422" v="825" actId="47"/>
        <pc:sldMkLst>
          <pc:docMk/>
          <pc:sldMk cId="1307132154" sldId="2147483414"/>
        </pc:sldMkLst>
      </pc:sldChg>
      <pc:sldChg chg="addSp delSp modSp mod">
        <pc:chgData name="Munarriz Herrador Iñaki" userId="11637121-8aee-420b-9db7-54651cb06796" providerId="ADAL" clId="{CAB74CB7-6DA4-4355-94E7-F63F4DFDD9E9}" dt="2025-06-30T16:20:57.829" v="1593" actId="14100"/>
        <pc:sldMkLst>
          <pc:docMk/>
          <pc:sldMk cId="17658299" sldId="2147483415"/>
        </pc:sldMkLst>
      </pc:sldChg>
      <pc:sldChg chg="modSp add del mod">
        <pc:chgData name="Munarriz Herrador Iñaki" userId="11637121-8aee-420b-9db7-54651cb06796" providerId="ADAL" clId="{CAB74CB7-6DA4-4355-94E7-F63F4DFDD9E9}" dt="2025-06-30T15:57:52.101" v="1580" actId="20577"/>
        <pc:sldMkLst>
          <pc:docMk/>
          <pc:sldMk cId="2523228152" sldId="2147483416"/>
        </pc:sldMkLst>
      </pc:sldChg>
      <pc:sldChg chg="addSp delSp modSp add del mod">
        <pc:chgData name="Munarriz Herrador Iñaki" userId="11637121-8aee-420b-9db7-54651cb06796" providerId="ADAL" clId="{CAB74CB7-6DA4-4355-94E7-F63F4DFDD9E9}" dt="2025-06-30T15:57:44.642" v="1577" actId="1076"/>
        <pc:sldMkLst>
          <pc:docMk/>
          <pc:sldMk cId="3043515397" sldId="2147483417"/>
        </pc:sldMkLst>
      </pc:sldChg>
      <pc:sldChg chg="add del">
        <pc:chgData name="Munarriz Herrador Iñaki" userId="11637121-8aee-420b-9db7-54651cb06796" providerId="ADAL" clId="{CAB74CB7-6DA4-4355-94E7-F63F4DFDD9E9}" dt="2025-06-27T08:44:12.912" v="826" actId="47"/>
        <pc:sldMkLst>
          <pc:docMk/>
          <pc:sldMk cId="689606832" sldId="2147483418"/>
        </pc:sldMkLst>
      </pc:sldChg>
      <pc:sldChg chg="addSp delSp modSp add mod ord">
        <pc:chgData name="Munarriz Herrador Iñaki" userId="11637121-8aee-420b-9db7-54651cb06796" providerId="ADAL" clId="{CAB74CB7-6DA4-4355-94E7-F63F4DFDD9E9}" dt="2025-06-27T10:54:43.850" v="1262" actId="20577"/>
        <pc:sldMkLst>
          <pc:docMk/>
          <pc:sldMk cId="2941204618" sldId="2147483419"/>
        </pc:sldMkLst>
        <pc:spChg chg="mod">
          <ac:chgData name="Munarriz Herrador Iñaki" userId="11637121-8aee-420b-9db7-54651cb06796" providerId="ADAL" clId="{CAB74CB7-6DA4-4355-94E7-F63F4DFDD9E9}" dt="2025-06-27T10:54:43.850" v="1262" actId="20577"/>
          <ac:spMkLst>
            <pc:docMk/>
            <pc:sldMk cId="2941204618" sldId="2147483419"/>
            <ac:spMk id="2" creationId="{F6F8EF28-670B-3735-C58B-8676A3D87D0A}"/>
          </ac:spMkLst>
        </pc:spChg>
        <pc:spChg chg="mod">
          <ac:chgData name="Munarriz Herrador Iñaki" userId="11637121-8aee-420b-9db7-54651cb06796" providerId="ADAL" clId="{CAB74CB7-6DA4-4355-94E7-F63F4DFDD9E9}" dt="2025-06-26T11:08:59.016" v="75" actId="1076"/>
          <ac:spMkLst>
            <pc:docMk/>
            <pc:sldMk cId="2941204618" sldId="2147483419"/>
            <ac:spMk id="4" creationId="{0694FE0D-BE50-4FD4-49DB-AA015AF33AA0}"/>
          </ac:spMkLst>
        </pc:spChg>
        <pc:spChg chg="mod">
          <ac:chgData name="Munarriz Herrador Iñaki" userId="11637121-8aee-420b-9db7-54651cb06796" providerId="ADAL" clId="{CAB74CB7-6DA4-4355-94E7-F63F4DFDD9E9}" dt="2025-06-26T11:09:20.875" v="78" actId="113"/>
          <ac:spMkLst>
            <pc:docMk/>
            <pc:sldMk cId="2941204618" sldId="2147483419"/>
            <ac:spMk id="6" creationId="{AF532910-AF89-9348-D4E5-3C7AB4BCCCF8}"/>
          </ac:spMkLst>
        </pc:spChg>
        <pc:spChg chg="add mod">
          <ac:chgData name="Munarriz Herrador Iñaki" userId="11637121-8aee-420b-9db7-54651cb06796" providerId="ADAL" clId="{CAB74CB7-6DA4-4355-94E7-F63F4DFDD9E9}" dt="2025-06-26T11:17:26.793" v="197" actId="1036"/>
          <ac:spMkLst>
            <pc:docMk/>
            <pc:sldMk cId="2941204618" sldId="2147483419"/>
            <ac:spMk id="7" creationId="{0CD1FB89-B79A-68F5-F382-C74873F11F94}"/>
          </ac:spMkLst>
        </pc:spChg>
      </pc:sldChg>
      <pc:sldChg chg="addSp delSp modSp add mod ord">
        <pc:chgData name="Munarriz Herrador Iñaki" userId="11637121-8aee-420b-9db7-54651cb06796" providerId="ADAL" clId="{CAB74CB7-6DA4-4355-94E7-F63F4DFDD9E9}" dt="2025-06-27T10:54:35.158" v="1259" actId="20577"/>
        <pc:sldMkLst>
          <pc:docMk/>
          <pc:sldMk cId="2241293320" sldId="2147483420"/>
        </pc:sldMkLst>
        <pc:spChg chg="mod">
          <ac:chgData name="Munarriz Herrador Iñaki" userId="11637121-8aee-420b-9db7-54651cb06796" providerId="ADAL" clId="{CAB74CB7-6DA4-4355-94E7-F63F4DFDD9E9}" dt="2025-06-27T10:54:35.158" v="1259" actId="20577"/>
          <ac:spMkLst>
            <pc:docMk/>
            <pc:sldMk cId="2241293320" sldId="2147483420"/>
            <ac:spMk id="2" creationId="{62748080-A24C-C8C7-404B-5CE92FB764D3}"/>
          </ac:spMkLst>
        </pc:spChg>
        <pc:spChg chg="mod">
          <ac:chgData name="Munarriz Herrador Iñaki" userId="11637121-8aee-420b-9db7-54651cb06796" providerId="ADAL" clId="{CAB74CB7-6DA4-4355-94E7-F63F4DFDD9E9}" dt="2025-06-26T11:10:22.181" v="106" actId="20577"/>
          <ac:spMkLst>
            <pc:docMk/>
            <pc:sldMk cId="2241293320" sldId="2147483420"/>
            <ac:spMk id="4" creationId="{DE110A49-BF26-C4C7-616A-D4DC80F98B09}"/>
          </ac:spMkLst>
        </pc:spChg>
        <pc:spChg chg="mod">
          <ac:chgData name="Munarriz Herrador Iñaki" userId="11637121-8aee-420b-9db7-54651cb06796" providerId="ADAL" clId="{CAB74CB7-6DA4-4355-94E7-F63F4DFDD9E9}" dt="2025-06-26T11:10:59.748" v="124" actId="20577"/>
          <ac:spMkLst>
            <pc:docMk/>
            <pc:sldMk cId="2241293320" sldId="2147483420"/>
            <ac:spMk id="6" creationId="{FF637865-3E85-3203-374B-2C19432A6B73}"/>
          </ac:spMkLst>
        </pc:spChg>
        <pc:spChg chg="add mod">
          <ac:chgData name="Munarriz Herrador Iñaki" userId="11637121-8aee-420b-9db7-54651cb06796" providerId="ADAL" clId="{CAB74CB7-6DA4-4355-94E7-F63F4DFDD9E9}" dt="2025-06-26T11:18:28.987" v="203" actId="6549"/>
          <ac:spMkLst>
            <pc:docMk/>
            <pc:sldMk cId="2241293320" sldId="2147483420"/>
            <ac:spMk id="7" creationId="{FCE7AFCD-8BA0-57CC-92DA-5259FF6D04FC}"/>
          </ac:spMkLst>
        </pc:spChg>
      </pc:sldChg>
      <pc:sldChg chg="addSp delSp modSp add mod">
        <pc:chgData name="Munarriz Herrador Iñaki" userId="11637121-8aee-420b-9db7-54651cb06796" providerId="ADAL" clId="{CAB74CB7-6DA4-4355-94E7-F63F4DFDD9E9}" dt="2025-06-27T10:54:38.456" v="1260" actId="20577"/>
        <pc:sldMkLst>
          <pc:docMk/>
          <pc:sldMk cId="3338159658" sldId="2147483421"/>
        </pc:sldMkLst>
        <pc:spChg chg="mod">
          <ac:chgData name="Munarriz Herrador Iñaki" userId="11637121-8aee-420b-9db7-54651cb06796" providerId="ADAL" clId="{CAB74CB7-6DA4-4355-94E7-F63F4DFDD9E9}" dt="2025-06-27T10:54:38.456" v="1260" actId="20577"/>
          <ac:spMkLst>
            <pc:docMk/>
            <pc:sldMk cId="3338159658" sldId="2147483421"/>
            <ac:spMk id="2" creationId="{3B37F899-FA53-4C24-4646-4B6B9E903329}"/>
          </ac:spMkLst>
        </pc:spChg>
        <pc:spChg chg="mod">
          <ac:chgData name="Munarriz Herrador Iñaki" userId="11637121-8aee-420b-9db7-54651cb06796" providerId="ADAL" clId="{CAB74CB7-6DA4-4355-94E7-F63F4DFDD9E9}" dt="2025-06-26T11:25:59.919" v="230" actId="20577"/>
          <ac:spMkLst>
            <pc:docMk/>
            <pc:sldMk cId="3338159658" sldId="2147483421"/>
            <ac:spMk id="4" creationId="{0F66483D-300F-864B-E899-DF51DDBEE45B}"/>
          </ac:spMkLst>
        </pc:spChg>
        <pc:spChg chg="mod">
          <ac:chgData name="Munarriz Herrador Iñaki" userId="11637121-8aee-420b-9db7-54651cb06796" providerId="ADAL" clId="{CAB74CB7-6DA4-4355-94E7-F63F4DFDD9E9}" dt="2025-06-26T11:27:35.455" v="247" actId="20577"/>
          <ac:spMkLst>
            <pc:docMk/>
            <pc:sldMk cId="3338159658" sldId="2147483421"/>
            <ac:spMk id="6" creationId="{1066E964-838A-CADB-44E4-9CC80E76975A}"/>
          </ac:spMkLst>
        </pc:spChg>
        <pc:spChg chg="mod">
          <ac:chgData name="Munarriz Herrador Iñaki" userId="11637121-8aee-420b-9db7-54651cb06796" providerId="ADAL" clId="{CAB74CB7-6DA4-4355-94E7-F63F4DFDD9E9}" dt="2025-06-26T11:23:59.233" v="224" actId="20577"/>
          <ac:spMkLst>
            <pc:docMk/>
            <pc:sldMk cId="3338159658" sldId="2147483421"/>
            <ac:spMk id="7" creationId="{2C231F40-ED21-060A-0A17-1851668B7FFA}"/>
          </ac:spMkLst>
        </pc:spChg>
      </pc:sldChg>
      <pc:sldChg chg="addSp delSp modSp add mod">
        <pc:chgData name="Munarriz Herrador Iñaki" userId="11637121-8aee-420b-9db7-54651cb06796" providerId="ADAL" clId="{CAB74CB7-6DA4-4355-94E7-F63F4DFDD9E9}" dt="2025-06-27T10:54:40.642" v="1261" actId="20577"/>
        <pc:sldMkLst>
          <pc:docMk/>
          <pc:sldMk cId="2221249643" sldId="2147483422"/>
        </pc:sldMkLst>
        <pc:spChg chg="mod">
          <ac:chgData name="Munarriz Herrador Iñaki" userId="11637121-8aee-420b-9db7-54651cb06796" providerId="ADAL" clId="{CAB74CB7-6DA4-4355-94E7-F63F4DFDD9E9}" dt="2025-06-27T10:54:40.642" v="1261" actId="20577"/>
          <ac:spMkLst>
            <pc:docMk/>
            <pc:sldMk cId="2221249643" sldId="2147483422"/>
            <ac:spMk id="2" creationId="{9D2F6C1D-FEDC-702C-5020-F94D872F3968}"/>
          </ac:spMkLst>
        </pc:spChg>
        <pc:spChg chg="mod">
          <ac:chgData name="Munarriz Herrador Iñaki" userId="11637121-8aee-420b-9db7-54651cb06796" providerId="ADAL" clId="{CAB74CB7-6DA4-4355-94E7-F63F4DFDD9E9}" dt="2025-06-26T11:31:57.705" v="254"/>
          <ac:spMkLst>
            <pc:docMk/>
            <pc:sldMk cId="2221249643" sldId="2147483422"/>
            <ac:spMk id="4" creationId="{D808C393-A724-2032-9DE8-0B1B1BCFE463}"/>
          </ac:spMkLst>
        </pc:spChg>
        <pc:spChg chg="mod">
          <ac:chgData name="Munarriz Herrador Iñaki" userId="11637121-8aee-420b-9db7-54651cb06796" providerId="ADAL" clId="{CAB74CB7-6DA4-4355-94E7-F63F4DFDD9E9}" dt="2025-06-26T11:32:26.242" v="264" actId="113"/>
          <ac:spMkLst>
            <pc:docMk/>
            <pc:sldMk cId="2221249643" sldId="2147483422"/>
            <ac:spMk id="6" creationId="{646AC361-A9CD-B09B-FD22-3A537C56C047}"/>
          </ac:spMkLst>
        </pc:spChg>
        <pc:spChg chg="mod">
          <ac:chgData name="Munarriz Herrador Iñaki" userId="11637121-8aee-420b-9db7-54651cb06796" providerId="ADAL" clId="{CAB74CB7-6DA4-4355-94E7-F63F4DFDD9E9}" dt="2025-06-26T11:33:10.529" v="271" actId="6549"/>
          <ac:spMkLst>
            <pc:docMk/>
            <pc:sldMk cId="2221249643" sldId="2147483422"/>
            <ac:spMk id="7" creationId="{F411F693-FDAB-4FEE-A7CF-AF434D3FE9C7}"/>
          </ac:spMkLst>
        </pc:spChg>
      </pc:sldChg>
      <pc:sldChg chg="addSp delSp modSp add mod ord">
        <pc:chgData name="Munarriz Herrador Iñaki" userId="11637121-8aee-420b-9db7-54651cb06796" providerId="ADAL" clId="{CAB74CB7-6DA4-4355-94E7-F63F4DFDD9E9}" dt="2025-06-27T11:31:56.722" v="1340" actId="20577"/>
        <pc:sldMkLst>
          <pc:docMk/>
          <pc:sldMk cId="2604043654" sldId="2147483423"/>
        </pc:sldMkLst>
        <pc:spChg chg="mod">
          <ac:chgData name="Munarriz Herrador Iñaki" userId="11637121-8aee-420b-9db7-54651cb06796" providerId="ADAL" clId="{CAB74CB7-6DA4-4355-94E7-F63F4DFDD9E9}" dt="2025-06-27T10:54:28.618" v="1257" actId="20577"/>
          <ac:spMkLst>
            <pc:docMk/>
            <pc:sldMk cId="2604043654" sldId="2147483423"/>
            <ac:spMk id="2" creationId="{C8035EEC-9AC8-B71D-AB5F-8B13BF6A5FF3}"/>
          </ac:spMkLst>
        </pc:spChg>
        <pc:spChg chg="mod">
          <ac:chgData name="Munarriz Herrador Iñaki" userId="11637121-8aee-420b-9db7-54651cb06796" providerId="ADAL" clId="{CAB74CB7-6DA4-4355-94E7-F63F4DFDD9E9}" dt="2025-06-27T11:31:56.722" v="1340" actId="20577"/>
          <ac:spMkLst>
            <pc:docMk/>
            <pc:sldMk cId="2604043654" sldId="2147483423"/>
            <ac:spMk id="4" creationId="{8D235F53-2B5B-5D30-E390-E1F1E98DDD46}"/>
          </ac:spMkLst>
        </pc:spChg>
        <pc:spChg chg="mod">
          <ac:chgData name="Munarriz Herrador Iñaki" userId="11637121-8aee-420b-9db7-54651cb06796" providerId="ADAL" clId="{CAB74CB7-6DA4-4355-94E7-F63F4DFDD9E9}" dt="2025-06-27T11:31:43.940" v="1338" actId="113"/>
          <ac:spMkLst>
            <pc:docMk/>
            <pc:sldMk cId="2604043654" sldId="2147483423"/>
            <ac:spMk id="6" creationId="{7F3A3E6B-049F-605D-9A22-A38D364AFB3E}"/>
          </ac:spMkLst>
        </pc:spChg>
        <pc:spChg chg="mod">
          <ac:chgData name="Munarriz Herrador Iñaki" userId="11637121-8aee-420b-9db7-54651cb06796" providerId="ADAL" clId="{CAB74CB7-6DA4-4355-94E7-F63F4DFDD9E9}" dt="2025-06-27T10:24:59.489" v="1177" actId="1036"/>
          <ac:spMkLst>
            <pc:docMk/>
            <pc:sldMk cId="2604043654" sldId="2147483423"/>
            <ac:spMk id="7" creationId="{2C7BA4D6-FEDC-25EB-0371-FF4CD00D153F}"/>
          </ac:spMkLst>
        </pc:spChg>
      </pc:sldChg>
      <pc:sldChg chg="addSp delSp modSp add del mod">
        <pc:chgData name="Munarriz Herrador Iñaki" userId="11637121-8aee-420b-9db7-54651cb06796" providerId="ADAL" clId="{CAB74CB7-6DA4-4355-94E7-F63F4DFDD9E9}" dt="2025-06-27T08:53:16.995" v="830" actId="47"/>
        <pc:sldMkLst>
          <pc:docMk/>
          <pc:sldMk cId="1092868967" sldId="2147483424"/>
        </pc:sldMkLst>
      </pc:sldChg>
      <pc:sldChg chg="addSp delSp modSp add mod">
        <pc:chgData name="Munarriz Herrador Iñaki" userId="11637121-8aee-420b-9db7-54651cb06796" providerId="ADAL" clId="{CAB74CB7-6DA4-4355-94E7-F63F4DFDD9E9}" dt="2025-06-27T08:37:13.127" v="777" actId="693"/>
        <pc:sldMkLst>
          <pc:docMk/>
          <pc:sldMk cId="4052193775" sldId="2147483425"/>
        </pc:sldMkLst>
      </pc:sldChg>
      <pc:sldChg chg="addSp delSp modSp add mod">
        <pc:chgData name="Munarriz Herrador Iñaki" userId="11637121-8aee-420b-9db7-54651cb06796" providerId="ADAL" clId="{CAB74CB7-6DA4-4355-94E7-F63F4DFDD9E9}" dt="2025-06-26T15:30:59.644" v="517" actId="20577"/>
        <pc:sldMkLst>
          <pc:docMk/>
          <pc:sldMk cId="311068668" sldId="2147483426"/>
        </pc:sldMkLst>
      </pc:sldChg>
      <pc:sldChg chg="addSp delSp modSp add mod">
        <pc:chgData name="Munarriz Herrador Iñaki" userId="11637121-8aee-420b-9db7-54651cb06796" providerId="ADAL" clId="{CAB74CB7-6DA4-4355-94E7-F63F4DFDD9E9}" dt="2025-06-27T09:45:13.859" v="1026"/>
        <pc:sldMkLst>
          <pc:docMk/>
          <pc:sldMk cId="3711774561" sldId="2147483427"/>
        </pc:sldMkLst>
      </pc:sldChg>
      <pc:sldChg chg="add del">
        <pc:chgData name="Munarriz Herrador Iñaki" userId="11637121-8aee-420b-9db7-54651cb06796" providerId="ADAL" clId="{CAB74CB7-6DA4-4355-94E7-F63F4DFDD9E9}" dt="2025-06-26T16:46:39.744" v="612" actId="47"/>
        <pc:sldMkLst>
          <pc:docMk/>
          <pc:sldMk cId="3988699588" sldId="2147483428"/>
        </pc:sldMkLst>
      </pc:sldChg>
      <pc:sldChg chg="addSp delSp modSp add mod">
        <pc:chgData name="Munarriz Herrador Iñaki" userId="11637121-8aee-420b-9db7-54651cb06796" providerId="ADAL" clId="{CAB74CB7-6DA4-4355-94E7-F63F4DFDD9E9}" dt="2025-06-27T08:43:29.798" v="824" actId="20577"/>
        <pc:sldMkLst>
          <pc:docMk/>
          <pc:sldMk cId="2610362918" sldId="2147483429"/>
        </pc:sldMkLst>
      </pc:sldChg>
      <pc:sldChg chg="addSp modSp add mod">
        <pc:chgData name="Munarriz Herrador Iñaki" userId="11637121-8aee-420b-9db7-54651cb06796" providerId="ADAL" clId="{CAB74CB7-6DA4-4355-94E7-F63F4DFDD9E9}" dt="2025-06-27T08:41:09.408" v="803" actId="1076"/>
        <pc:sldMkLst>
          <pc:docMk/>
          <pc:sldMk cId="2915422796" sldId="2147483430"/>
        </pc:sldMkLst>
      </pc:sldChg>
      <pc:sldChg chg="addSp modSp add mod">
        <pc:chgData name="Munarriz Herrador Iñaki" userId="11637121-8aee-420b-9db7-54651cb06796" providerId="ADAL" clId="{CAB74CB7-6DA4-4355-94E7-F63F4DFDD9E9}" dt="2025-06-27T09:47:53.936" v="1103" actId="1038"/>
        <pc:sldMkLst>
          <pc:docMk/>
          <pc:sldMk cId="1786951196" sldId="2147483431"/>
        </pc:sldMkLst>
      </pc:sldChg>
    </pc:docChg>
  </pc:docChgLst>
  <pc:docChgLst>
    <pc:chgData name="Munarriz Herrador Iñaki" userId="11637121-8aee-420b-9db7-54651cb06796" providerId="ADAL" clId="{2C3D0F59-EDFA-4449-90D5-79281DD6DAB5}"/>
    <pc:docChg chg="undo custSel addSld delSld modSld sldOrd modSection">
      <pc:chgData name="Munarriz Herrador Iñaki" userId="11637121-8aee-420b-9db7-54651cb06796" providerId="ADAL" clId="{2C3D0F59-EDFA-4449-90D5-79281DD6DAB5}" dt="2025-01-27T16:09:21.311" v="5151" actId="1076"/>
      <pc:docMkLst>
        <pc:docMk/>
      </pc:docMkLst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616658181" sldId="806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28532313" sldId="827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904767837" sldId="828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1054402032" sldId="829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474182341" sldId="830"/>
        </pc:sldMkLst>
      </pc:sldChg>
      <pc:sldChg chg="modSp mod">
        <pc:chgData name="Munarriz Herrador Iñaki" userId="11637121-8aee-420b-9db7-54651cb06796" providerId="ADAL" clId="{2C3D0F59-EDFA-4449-90D5-79281DD6DAB5}" dt="2025-01-23T16:08:53.805" v="1171" actId="20577"/>
        <pc:sldMkLst>
          <pc:docMk/>
          <pc:sldMk cId="0" sldId="2147483315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837960401" sldId="2147483316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402773593" sldId="2147483317"/>
        </pc:sldMkLst>
      </pc:sldChg>
      <pc:sldChg chg="del">
        <pc:chgData name="Munarriz Herrador Iñaki" userId="11637121-8aee-420b-9db7-54651cb06796" providerId="ADAL" clId="{2C3D0F59-EDFA-4449-90D5-79281DD6DAB5}" dt="2025-01-24T12:34:43.372" v="4172" actId="47"/>
        <pc:sldMkLst>
          <pc:docMk/>
          <pc:sldMk cId="3749504679" sldId="2147483318"/>
        </pc:sldMkLst>
      </pc:sldChg>
      <pc:sldChg chg="modSp add del mod">
        <pc:chgData name="Munarriz Herrador Iñaki" userId="11637121-8aee-420b-9db7-54651cb06796" providerId="ADAL" clId="{2C3D0F59-EDFA-4449-90D5-79281DD6DAB5}" dt="2025-01-23T15:43:06.260" v="393" actId="47"/>
        <pc:sldMkLst>
          <pc:docMk/>
          <pc:sldMk cId="548997039" sldId="2147483371"/>
        </pc:sldMkLst>
      </pc:sldChg>
      <pc:sldChg chg="addSp delSp modSp add mod">
        <pc:chgData name="Munarriz Herrador Iñaki" userId="11637121-8aee-420b-9db7-54651cb06796" providerId="ADAL" clId="{2C3D0F59-EDFA-4449-90D5-79281DD6DAB5}" dt="2025-01-24T12:25:53.088" v="4071" actId="20577"/>
        <pc:sldMkLst>
          <pc:docMk/>
          <pc:sldMk cId="88093545" sldId="2147483372"/>
        </pc:sldMkLst>
      </pc:sldChg>
      <pc:sldChg chg="addSp delSp modSp add mod ord">
        <pc:chgData name="Munarriz Herrador Iñaki" userId="11637121-8aee-420b-9db7-54651cb06796" providerId="ADAL" clId="{2C3D0F59-EDFA-4449-90D5-79281DD6DAB5}" dt="2025-01-24T13:14:45.156" v="4213" actId="113"/>
        <pc:sldMkLst>
          <pc:docMk/>
          <pc:sldMk cId="1243781170" sldId="2147483373"/>
        </pc:sldMkLst>
      </pc:sldChg>
      <pc:sldChg chg="new del">
        <pc:chgData name="Munarriz Herrador Iñaki" userId="11637121-8aee-420b-9db7-54651cb06796" providerId="ADAL" clId="{2C3D0F59-EDFA-4449-90D5-79281DD6DAB5}" dt="2025-01-23T15:36:40.221" v="285" actId="47"/>
        <pc:sldMkLst>
          <pc:docMk/>
          <pc:sldMk cId="1270524578" sldId="2147483373"/>
        </pc:sldMkLst>
      </pc:sldChg>
      <pc:sldChg chg="addSp delSp modSp add mod setBg">
        <pc:chgData name="Munarriz Herrador Iñaki" userId="11637121-8aee-420b-9db7-54651cb06796" providerId="ADAL" clId="{2C3D0F59-EDFA-4449-90D5-79281DD6DAB5}" dt="2025-01-27T08:15:27.464" v="4360" actId="1076"/>
        <pc:sldMkLst>
          <pc:docMk/>
          <pc:sldMk cId="3267060004" sldId="2147483374"/>
        </pc:sldMkLst>
      </pc:sldChg>
      <pc:sldChg chg="addSp delSp modSp add mod">
        <pc:chgData name="Munarriz Herrador Iñaki" userId="11637121-8aee-420b-9db7-54651cb06796" providerId="ADAL" clId="{2C3D0F59-EDFA-4449-90D5-79281DD6DAB5}" dt="2025-01-24T11:12:21.600" v="3175" actId="14100"/>
        <pc:sldMkLst>
          <pc:docMk/>
          <pc:sldMk cId="61861682" sldId="2147483375"/>
        </pc:sldMkLst>
      </pc:sldChg>
      <pc:sldChg chg="addSp modSp add del mod">
        <pc:chgData name="Munarriz Herrador Iñaki" userId="11637121-8aee-420b-9db7-54651cb06796" providerId="ADAL" clId="{2C3D0F59-EDFA-4449-90D5-79281DD6DAB5}" dt="2025-01-24T12:05:01.666" v="3805" actId="47"/>
        <pc:sldMkLst>
          <pc:docMk/>
          <pc:sldMk cId="1239163435" sldId="2147483376"/>
        </pc:sldMkLst>
      </pc:sldChg>
      <pc:sldChg chg="addSp modSp add del mod">
        <pc:chgData name="Munarriz Herrador Iñaki" userId="11637121-8aee-420b-9db7-54651cb06796" providerId="ADAL" clId="{2C3D0F59-EDFA-4449-90D5-79281DD6DAB5}" dt="2025-01-24T12:26:12.179" v="4072" actId="47"/>
        <pc:sldMkLst>
          <pc:docMk/>
          <pc:sldMk cId="3161292302" sldId="2147483377"/>
        </pc:sldMkLst>
      </pc:sldChg>
      <pc:sldChg chg="addSp modSp add mod">
        <pc:chgData name="Munarriz Herrador Iñaki" userId="11637121-8aee-420b-9db7-54651cb06796" providerId="ADAL" clId="{2C3D0F59-EDFA-4449-90D5-79281DD6DAB5}" dt="2025-01-27T11:32:34.245" v="4838" actId="20577"/>
        <pc:sldMkLst>
          <pc:docMk/>
          <pc:sldMk cId="3116799561" sldId="2147483378"/>
        </pc:sldMkLst>
      </pc:sldChg>
      <pc:sldChg chg="addSp delSp modSp add mod">
        <pc:chgData name="Munarriz Herrador Iñaki" userId="11637121-8aee-420b-9db7-54651cb06796" providerId="ADAL" clId="{2C3D0F59-EDFA-4449-90D5-79281DD6DAB5}" dt="2025-01-24T13:13:41.478" v="4205" actId="113"/>
        <pc:sldMkLst>
          <pc:docMk/>
          <pc:sldMk cId="2818866366" sldId="2147483379"/>
        </pc:sldMkLst>
      </pc:sldChg>
      <pc:sldChg chg="addSp delSp modSp add mod">
        <pc:chgData name="Munarriz Herrador Iñaki" userId="11637121-8aee-420b-9db7-54651cb06796" providerId="ADAL" clId="{2C3D0F59-EDFA-4449-90D5-79281DD6DAB5}" dt="2025-01-24T13:30:37.129" v="4289" actId="20577"/>
        <pc:sldMkLst>
          <pc:docMk/>
          <pc:sldMk cId="2837213026" sldId="2147483380"/>
        </pc:sldMkLst>
      </pc:sldChg>
      <pc:sldChg chg="addSp delSp modSp add del mod">
        <pc:chgData name="Munarriz Herrador Iñaki" userId="11637121-8aee-420b-9db7-54651cb06796" providerId="ADAL" clId="{2C3D0F59-EDFA-4449-90D5-79281DD6DAB5}" dt="2025-01-24T12:05:00.683" v="3804" actId="47"/>
        <pc:sldMkLst>
          <pc:docMk/>
          <pc:sldMk cId="2583614594" sldId="2147483381"/>
        </pc:sldMkLst>
      </pc:sldChg>
      <pc:sldChg chg="addSp delSp modSp add del mod">
        <pc:chgData name="Munarriz Herrador Iñaki" userId="11637121-8aee-420b-9db7-54651cb06796" providerId="ADAL" clId="{2C3D0F59-EDFA-4449-90D5-79281DD6DAB5}" dt="2025-01-24T09:26:06.545" v="2976" actId="47"/>
        <pc:sldMkLst>
          <pc:docMk/>
          <pc:sldMk cId="2527052421" sldId="2147483382"/>
        </pc:sldMkLst>
      </pc:sldChg>
      <pc:sldChg chg="addSp delSp modSp add del mod">
        <pc:chgData name="Munarriz Herrador Iñaki" userId="11637121-8aee-420b-9db7-54651cb06796" providerId="ADAL" clId="{2C3D0F59-EDFA-4449-90D5-79281DD6DAB5}" dt="2025-01-24T09:26:02.470" v="2975" actId="47"/>
        <pc:sldMkLst>
          <pc:docMk/>
          <pc:sldMk cId="4122967616" sldId="2147483383"/>
        </pc:sldMkLst>
      </pc:sldChg>
      <pc:sldChg chg="addSp delSp modSp add mod">
        <pc:chgData name="Munarriz Herrador Iñaki" userId="11637121-8aee-420b-9db7-54651cb06796" providerId="ADAL" clId="{2C3D0F59-EDFA-4449-90D5-79281DD6DAB5}" dt="2025-01-27T11:30:24.482" v="4723" actId="20577"/>
        <pc:sldMkLst>
          <pc:docMk/>
          <pc:sldMk cId="2100245951" sldId="2147483384"/>
        </pc:sldMkLst>
      </pc:sldChg>
      <pc:sldChg chg="addSp modSp add del mod">
        <pc:chgData name="Munarriz Herrador Iñaki" userId="11637121-8aee-420b-9db7-54651cb06796" providerId="ADAL" clId="{2C3D0F59-EDFA-4449-90D5-79281DD6DAB5}" dt="2025-01-27T12:14:43.207" v="5128" actId="47"/>
        <pc:sldMkLst>
          <pc:docMk/>
          <pc:sldMk cId="1402537860" sldId="2147483385"/>
        </pc:sldMkLst>
      </pc:sldChg>
      <pc:sldChg chg="addSp delSp modSp add mod ord">
        <pc:chgData name="Munarriz Herrador Iñaki" userId="11637121-8aee-420b-9db7-54651cb06796" providerId="ADAL" clId="{2C3D0F59-EDFA-4449-90D5-79281DD6DAB5}" dt="2025-01-27T12:14:51.140" v="5129" actId="14100"/>
        <pc:sldMkLst>
          <pc:docMk/>
          <pc:sldMk cId="2201393827" sldId="2147483386"/>
        </pc:sldMkLst>
      </pc:sldChg>
      <pc:sldChg chg="addSp delSp modSp add mod">
        <pc:chgData name="Munarriz Herrador Iñaki" userId="11637121-8aee-420b-9db7-54651cb06796" providerId="ADAL" clId="{2C3D0F59-EDFA-4449-90D5-79281DD6DAB5}" dt="2025-01-27T16:09:21.311" v="5151" actId="1076"/>
        <pc:sldMkLst>
          <pc:docMk/>
          <pc:sldMk cId="1177571145" sldId="2147483387"/>
        </pc:sldMkLst>
      </pc:sldChg>
    </pc:docChg>
  </pc:docChgLst>
  <pc:docChgLst>
    <pc:chgData name="Munarriz Herrador Iñaki" userId="11637121-8aee-420b-9db7-54651cb06796" providerId="ADAL" clId="{09FC869D-E65A-42A8-8676-0F1CC47404A1}"/>
    <pc:docChg chg="undo custSel addSld delSld modSld sldOrd modSection">
      <pc:chgData name="Munarriz Herrador Iñaki" userId="11637121-8aee-420b-9db7-54651cb06796" providerId="ADAL" clId="{09FC869D-E65A-42A8-8676-0F1CC47404A1}" dt="2025-07-14T16:29:27.137" v="1936" actId="20577"/>
      <pc:docMkLst>
        <pc:docMk/>
      </pc:docMkLst>
      <pc:sldChg chg="modSp mod">
        <pc:chgData name="Munarriz Herrador Iñaki" userId="11637121-8aee-420b-9db7-54651cb06796" providerId="ADAL" clId="{09FC869D-E65A-42A8-8676-0F1CC47404A1}" dt="2025-07-10T06:53:44.530" v="5" actId="20577"/>
        <pc:sldMkLst>
          <pc:docMk/>
          <pc:sldMk cId="0" sldId="2147483315"/>
        </pc:sldMkLst>
        <pc:spChg chg="mod">
          <ac:chgData name="Munarriz Herrador Iñaki" userId="11637121-8aee-420b-9db7-54651cb06796" providerId="ADAL" clId="{09FC869D-E65A-42A8-8676-0F1CC47404A1}" dt="2025-07-10T06:53:44.530" v="5" actId="20577"/>
          <ac:spMkLst>
            <pc:docMk/>
            <pc:sldMk cId="0" sldId="2147483315"/>
            <ac:spMk id="6" creationId="{00000000-0000-0000-0000-000000000000}"/>
          </ac:spMkLst>
        </pc:spChg>
      </pc:sldChg>
      <pc:sldChg chg="modSp mod">
        <pc:chgData name="Munarriz Herrador Iñaki" userId="11637121-8aee-420b-9db7-54651cb06796" providerId="ADAL" clId="{09FC869D-E65A-42A8-8676-0F1CC47404A1}" dt="2025-07-14T15:56:14.996" v="1753" actId="108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09FC869D-E65A-42A8-8676-0F1CC47404A1}" dt="2025-07-14T15:56:14.996" v="1753" actId="108"/>
          <ac:spMkLst>
            <pc:docMk/>
            <pc:sldMk cId="88093545" sldId="2147483372"/>
            <ac:spMk id="8" creationId="{B653FEEB-5B1B-5220-1426-D789485673FE}"/>
          </ac:spMkLst>
        </pc:spChg>
      </pc:sldChg>
      <pc:sldChg chg="addSp delSp modSp mod">
        <pc:chgData name="Munarriz Herrador Iñaki" userId="11637121-8aee-420b-9db7-54651cb06796" providerId="ADAL" clId="{09FC869D-E65A-42A8-8676-0F1CC47404A1}" dt="2025-07-11T12:22:30.353" v="1724" actId="20577"/>
        <pc:sldMkLst>
          <pc:docMk/>
          <pc:sldMk cId="1243781170" sldId="2147483373"/>
        </pc:sldMkLst>
        <pc:spChg chg="mod">
          <ac:chgData name="Munarriz Herrador Iñaki" userId="11637121-8aee-420b-9db7-54651cb06796" providerId="ADAL" clId="{09FC869D-E65A-42A8-8676-0F1CC47404A1}" dt="2025-07-11T12:22:30.353" v="1724" actId="20577"/>
          <ac:spMkLst>
            <pc:docMk/>
            <pc:sldMk cId="1243781170" sldId="2147483373"/>
            <ac:spMk id="2" creationId="{0D0F0FBB-CF31-7258-D6B3-FD3CCD13F048}"/>
          </ac:spMkLst>
        </pc:spChg>
        <pc:spChg chg="add mod">
          <ac:chgData name="Munarriz Herrador Iñaki" userId="11637121-8aee-420b-9db7-54651cb06796" providerId="ADAL" clId="{09FC869D-E65A-42A8-8676-0F1CC47404A1}" dt="2025-07-11T12:04:11.049" v="1679" actId="14100"/>
          <ac:spMkLst>
            <pc:docMk/>
            <pc:sldMk cId="1243781170" sldId="2147483373"/>
            <ac:spMk id="3" creationId="{B3B6AEB3-1F8E-7CD8-29AD-D12888476322}"/>
          </ac:spMkLst>
        </pc:spChg>
        <pc:spChg chg="add mod">
          <ac:chgData name="Munarriz Herrador Iñaki" userId="11637121-8aee-420b-9db7-54651cb06796" providerId="ADAL" clId="{09FC869D-E65A-42A8-8676-0F1CC47404A1}" dt="2025-07-11T12:05:54.477" v="1710" actId="20577"/>
          <ac:spMkLst>
            <pc:docMk/>
            <pc:sldMk cId="1243781170" sldId="2147483373"/>
            <ac:spMk id="5" creationId="{78C8386E-1F84-A07D-1AA6-0F5695EF8956}"/>
          </ac:spMkLst>
        </pc:spChg>
        <pc:spChg chg="mod">
          <ac:chgData name="Munarriz Herrador Iñaki" userId="11637121-8aee-420b-9db7-54651cb06796" providerId="ADAL" clId="{09FC869D-E65A-42A8-8676-0F1CC47404A1}" dt="2025-07-11T11:15:17.102" v="1243" actId="20577"/>
          <ac:spMkLst>
            <pc:docMk/>
            <pc:sldMk cId="1243781170" sldId="2147483373"/>
            <ac:spMk id="6" creationId="{8BEF89A0-9B50-124A-6F46-17A2C809E6F0}"/>
          </ac:spMkLst>
        </pc:spChg>
        <pc:spChg chg="mod">
          <ac:chgData name="Munarriz Herrador Iñaki" userId="11637121-8aee-420b-9db7-54651cb06796" providerId="ADAL" clId="{09FC869D-E65A-42A8-8676-0F1CC47404A1}" dt="2025-07-11T11:15:23.867" v="1252" actId="20577"/>
          <ac:spMkLst>
            <pc:docMk/>
            <pc:sldMk cId="1243781170" sldId="2147483373"/>
            <ac:spMk id="11" creationId="{5BB125DB-F813-949A-99A7-A9A6AC44B387}"/>
          </ac:spMkLst>
        </pc:spChg>
        <pc:spChg chg="mod">
          <ac:chgData name="Munarriz Herrador Iñaki" userId="11637121-8aee-420b-9db7-54651cb06796" providerId="ADAL" clId="{09FC869D-E65A-42A8-8676-0F1CC47404A1}" dt="2025-07-11T11:16:27.035" v="1264" actId="20577"/>
          <ac:spMkLst>
            <pc:docMk/>
            <pc:sldMk cId="1243781170" sldId="2147483373"/>
            <ac:spMk id="14" creationId="{E3CF0BD5-F2D8-4DDE-B1A9-1CBB336FB670}"/>
          </ac:spMkLst>
        </pc:spChg>
        <pc:spChg chg="mod">
          <ac:chgData name="Munarriz Herrador Iñaki" userId="11637121-8aee-420b-9db7-54651cb06796" providerId="ADAL" clId="{09FC869D-E65A-42A8-8676-0F1CC47404A1}" dt="2025-07-11T12:02:39.570" v="1539" actId="1035"/>
          <ac:spMkLst>
            <pc:docMk/>
            <pc:sldMk cId="1243781170" sldId="2147483373"/>
            <ac:spMk id="16" creationId="{4FEB89AF-6493-CA4A-A375-523CA0F523C1}"/>
          </ac:spMkLst>
        </pc:spChg>
        <pc:spChg chg="mod">
          <ac:chgData name="Munarriz Herrador Iñaki" userId="11637121-8aee-420b-9db7-54651cb06796" providerId="ADAL" clId="{09FC869D-E65A-42A8-8676-0F1CC47404A1}" dt="2025-07-11T12:03:33.403" v="1613" actId="1035"/>
          <ac:spMkLst>
            <pc:docMk/>
            <pc:sldMk cId="1243781170" sldId="2147483373"/>
            <ac:spMk id="17" creationId="{E489FA0E-5146-4715-B5C6-F21415523D81}"/>
          </ac:spMkLst>
        </pc:spChg>
        <pc:spChg chg="mod">
          <ac:chgData name="Munarriz Herrador Iñaki" userId="11637121-8aee-420b-9db7-54651cb06796" providerId="ADAL" clId="{09FC869D-E65A-42A8-8676-0F1CC47404A1}" dt="2025-07-11T12:03:39.415" v="1614" actId="14100"/>
          <ac:spMkLst>
            <pc:docMk/>
            <pc:sldMk cId="1243781170" sldId="2147483373"/>
            <ac:spMk id="27" creationId="{A18CB189-6B2F-FF05-C878-C05BFBA1E48F}"/>
          </ac:spMkLst>
        </pc:spChg>
        <pc:spChg chg="mod">
          <ac:chgData name="Munarriz Herrador Iñaki" userId="11637121-8aee-420b-9db7-54651cb06796" providerId="ADAL" clId="{09FC869D-E65A-42A8-8676-0F1CC47404A1}" dt="2025-07-11T11:17:11.728" v="1266" actId="20577"/>
          <ac:spMkLst>
            <pc:docMk/>
            <pc:sldMk cId="1243781170" sldId="2147483373"/>
            <ac:spMk id="28" creationId="{6DC94D33-0540-8411-9AFF-BC554570FD22}"/>
          </ac:spMkLst>
        </pc:spChg>
        <pc:spChg chg="mod topLvl">
          <ac:chgData name="Munarriz Herrador Iñaki" userId="11637121-8aee-420b-9db7-54651cb06796" providerId="ADAL" clId="{09FC869D-E65A-42A8-8676-0F1CC47404A1}" dt="2025-07-11T12:01:17.269" v="1456" actId="20577"/>
          <ac:spMkLst>
            <pc:docMk/>
            <pc:sldMk cId="1243781170" sldId="2147483373"/>
            <ac:spMk id="38" creationId="{691FDFAE-1869-C9D8-593E-52E54B8D9BA8}"/>
          </ac:spMkLst>
        </pc:spChg>
        <pc:spChg chg="mod topLvl">
          <ac:chgData name="Munarriz Herrador Iñaki" userId="11637121-8aee-420b-9db7-54651cb06796" providerId="ADAL" clId="{09FC869D-E65A-42A8-8676-0F1CC47404A1}" dt="2025-07-11T12:04:25.230" v="1708" actId="1036"/>
          <ac:spMkLst>
            <pc:docMk/>
            <pc:sldMk cId="1243781170" sldId="2147483373"/>
            <ac:spMk id="39" creationId="{CC4DDFF4-761D-995B-6DF0-1E7532E18886}"/>
          </ac:spMkLst>
        </pc:spChg>
        <pc:spChg chg="mod topLvl">
          <ac:chgData name="Munarriz Herrador Iñaki" userId="11637121-8aee-420b-9db7-54651cb06796" providerId="ADAL" clId="{09FC869D-E65A-42A8-8676-0F1CC47404A1}" dt="2025-07-11T12:00:21.214" v="1448" actId="14100"/>
          <ac:spMkLst>
            <pc:docMk/>
            <pc:sldMk cId="1243781170" sldId="2147483373"/>
            <ac:spMk id="41" creationId="{1D17B2A6-1FC3-8256-10F3-3AFCA2296B20}"/>
          </ac:spMkLst>
        </pc:spChg>
        <pc:spChg chg="mod topLvl">
          <ac:chgData name="Munarriz Herrador Iñaki" userId="11637121-8aee-420b-9db7-54651cb06796" providerId="ADAL" clId="{09FC869D-E65A-42A8-8676-0F1CC47404A1}" dt="2025-07-11T11:59:56.287" v="1382" actId="165"/>
          <ac:spMkLst>
            <pc:docMk/>
            <pc:sldMk cId="1243781170" sldId="2147483373"/>
            <ac:spMk id="42" creationId="{9320906B-9399-F7D8-A216-3D8FA59FFFD9}"/>
          </ac:spMkLst>
        </pc:spChg>
        <pc:spChg chg="mod">
          <ac:chgData name="Munarriz Herrador Iñaki" userId="11637121-8aee-420b-9db7-54651cb06796" providerId="ADAL" clId="{09FC869D-E65A-42A8-8676-0F1CC47404A1}" dt="2025-07-11T12:02:53.694" v="1541" actId="20577"/>
          <ac:spMkLst>
            <pc:docMk/>
            <pc:sldMk cId="1243781170" sldId="2147483373"/>
            <ac:spMk id="44" creationId="{9947456F-95BE-E86D-DF69-B445F45E839E}"/>
          </ac:spMkLst>
        </pc:spChg>
        <pc:spChg chg="mod">
          <ac:chgData name="Munarriz Herrador Iñaki" userId="11637121-8aee-420b-9db7-54651cb06796" providerId="ADAL" clId="{09FC869D-E65A-42A8-8676-0F1CC47404A1}" dt="2025-07-11T12:03:24.079" v="1571" actId="14100"/>
          <ac:spMkLst>
            <pc:docMk/>
            <pc:sldMk cId="1243781170" sldId="2147483373"/>
            <ac:spMk id="45" creationId="{F10211DB-E9CE-756B-FFAA-2E035271535F}"/>
          </ac:spMkLst>
        </pc:spChg>
        <pc:spChg chg="mod">
          <ac:chgData name="Munarriz Herrador Iñaki" userId="11637121-8aee-420b-9db7-54651cb06796" providerId="ADAL" clId="{09FC869D-E65A-42A8-8676-0F1CC47404A1}" dt="2025-07-11T12:03:12.865" v="1570" actId="1035"/>
          <ac:spMkLst>
            <pc:docMk/>
            <pc:sldMk cId="1243781170" sldId="2147483373"/>
            <ac:spMk id="46" creationId="{2911DFDA-7CBF-CE55-8527-50CF72078341}"/>
          </ac:spMkLst>
        </pc:spChg>
      </pc:sldChg>
      <pc:sldChg chg="del">
        <pc:chgData name="Munarriz Herrador Iñaki" userId="11637121-8aee-420b-9db7-54651cb06796" providerId="ADAL" clId="{09FC869D-E65A-42A8-8676-0F1CC47404A1}" dt="2025-07-11T11:05:17.577" v="1203" actId="47"/>
        <pc:sldMkLst>
          <pc:docMk/>
          <pc:sldMk cId="2085739677" sldId="2147483401"/>
        </pc:sldMkLst>
      </pc:sldChg>
      <pc:sldChg chg="delSp del mod">
        <pc:chgData name="Munarriz Herrador Iñaki" userId="11637121-8aee-420b-9db7-54651cb06796" providerId="ADAL" clId="{09FC869D-E65A-42A8-8676-0F1CC47404A1}" dt="2025-07-11T12:22:27.409" v="1722" actId="47"/>
        <pc:sldMkLst>
          <pc:docMk/>
          <pc:sldMk cId="2428685999" sldId="2147483409"/>
        </pc:sldMkLst>
      </pc:sldChg>
      <pc:sldChg chg="modSp del mod">
        <pc:chgData name="Munarriz Herrador Iñaki" userId="11637121-8aee-420b-9db7-54651cb06796" providerId="ADAL" clId="{09FC869D-E65A-42A8-8676-0F1CC47404A1}" dt="2025-07-11T12:22:27.409" v="1722" actId="47"/>
        <pc:sldMkLst>
          <pc:docMk/>
          <pc:sldMk cId="17658299" sldId="2147483415"/>
        </pc:sldMkLst>
      </pc:sldChg>
      <pc:sldChg chg="del">
        <pc:chgData name="Munarriz Herrador Iñaki" userId="11637121-8aee-420b-9db7-54651cb06796" providerId="ADAL" clId="{09FC869D-E65A-42A8-8676-0F1CC47404A1}" dt="2025-07-10T06:53:51.839" v="6" actId="47"/>
        <pc:sldMkLst>
          <pc:docMk/>
          <pc:sldMk cId="2523228152" sldId="2147483416"/>
        </pc:sldMkLst>
      </pc:sldChg>
      <pc:sldChg chg="del">
        <pc:chgData name="Munarriz Herrador Iñaki" userId="11637121-8aee-420b-9db7-54651cb06796" providerId="ADAL" clId="{09FC869D-E65A-42A8-8676-0F1CC47404A1}" dt="2025-07-10T06:53:51.839" v="6" actId="47"/>
        <pc:sldMkLst>
          <pc:docMk/>
          <pc:sldMk cId="3043515397" sldId="2147483417"/>
        </pc:sldMkLst>
      </pc:sldChg>
      <pc:sldChg chg="addSp delSp modSp mod ord">
        <pc:chgData name="Munarriz Herrador Iñaki" userId="11637121-8aee-420b-9db7-54651cb06796" providerId="ADAL" clId="{09FC869D-E65A-42A8-8676-0F1CC47404A1}" dt="2025-07-11T12:22:33.501" v="1726" actId="6549"/>
        <pc:sldMkLst>
          <pc:docMk/>
          <pc:sldMk cId="2941204618" sldId="2147483419"/>
        </pc:sldMkLst>
        <pc:spChg chg="mod">
          <ac:chgData name="Munarriz Herrador Iñaki" userId="11637121-8aee-420b-9db7-54651cb06796" providerId="ADAL" clId="{09FC869D-E65A-42A8-8676-0F1CC47404A1}" dt="2025-07-11T12:22:33.501" v="1726" actId="6549"/>
          <ac:spMkLst>
            <pc:docMk/>
            <pc:sldMk cId="2941204618" sldId="2147483419"/>
            <ac:spMk id="2" creationId="{F6F8EF28-670B-3735-C58B-8676A3D87D0A}"/>
          </ac:spMkLst>
        </pc:spChg>
        <pc:spChg chg="mod">
          <ac:chgData name="Munarriz Herrador Iñaki" userId="11637121-8aee-420b-9db7-54651cb06796" providerId="ADAL" clId="{09FC869D-E65A-42A8-8676-0F1CC47404A1}" dt="2025-07-11T10:58:02.912" v="1174" actId="1036"/>
          <ac:spMkLst>
            <pc:docMk/>
            <pc:sldMk cId="2941204618" sldId="2147483419"/>
            <ac:spMk id="4" creationId="{0694FE0D-BE50-4FD4-49DB-AA015AF33AA0}"/>
          </ac:spMkLst>
        </pc:spChg>
        <pc:spChg chg="mod">
          <ac:chgData name="Munarriz Herrador Iñaki" userId="11637121-8aee-420b-9db7-54651cb06796" providerId="ADAL" clId="{09FC869D-E65A-42A8-8676-0F1CC47404A1}" dt="2025-07-11T10:58:53.861" v="1182" actId="20577"/>
          <ac:spMkLst>
            <pc:docMk/>
            <pc:sldMk cId="2941204618" sldId="2147483419"/>
            <ac:spMk id="6" creationId="{AF532910-AF89-9348-D4E5-3C7AB4BCCCF8}"/>
          </ac:spMkLst>
        </pc:spChg>
        <pc:spChg chg="mod">
          <ac:chgData name="Munarriz Herrador Iñaki" userId="11637121-8aee-420b-9db7-54651cb06796" providerId="ADAL" clId="{09FC869D-E65A-42A8-8676-0F1CC47404A1}" dt="2025-07-11T11:03:31.015" v="1198" actId="20577"/>
          <ac:spMkLst>
            <pc:docMk/>
            <pc:sldMk cId="2941204618" sldId="2147483419"/>
            <ac:spMk id="7" creationId="{0CD1FB89-B79A-68F5-F382-C74873F11F94}"/>
          </ac:spMkLst>
        </pc:spChg>
        <pc:picChg chg="add mod">
          <ac:chgData name="Munarriz Herrador Iñaki" userId="11637121-8aee-420b-9db7-54651cb06796" providerId="ADAL" clId="{09FC869D-E65A-42A8-8676-0F1CC47404A1}" dt="2025-07-11T11:00:43.992" v="1190" actId="14100"/>
          <ac:picMkLst>
            <pc:docMk/>
            <pc:sldMk cId="2941204618" sldId="2147483419"/>
            <ac:picMk id="4100" creationId="{02698ACE-22F3-BAF1-4A72-7DF4725D420F}"/>
          </ac:picMkLst>
        </pc:picChg>
      </pc:sldChg>
      <pc:sldChg chg="addSp delSp modSp mod ord">
        <pc:chgData name="Munarriz Herrador Iñaki" userId="11637121-8aee-420b-9db7-54651cb06796" providerId="ADAL" clId="{09FC869D-E65A-42A8-8676-0F1CC47404A1}" dt="2025-07-11T12:22:36.674" v="1728" actId="20577"/>
        <pc:sldMkLst>
          <pc:docMk/>
          <pc:sldMk cId="2241293320" sldId="2147483420"/>
        </pc:sldMkLst>
        <pc:spChg chg="mod">
          <ac:chgData name="Munarriz Herrador Iñaki" userId="11637121-8aee-420b-9db7-54651cb06796" providerId="ADAL" clId="{09FC869D-E65A-42A8-8676-0F1CC47404A1}" dt="2025-07-11T12:22:36.674" v="1728" actId="20577"/>
          <ac:spMkLst>
            <pc:docMk/>
            <pc:sldMk cId="2241293320" sldId="2147483420"/>
            <ac:spMk id="2" creationId="{62748080-A24C-C8C7-404B-5CE92FB764D3}"/>
          </ac:spMkLst>
        </pc:spChg>
        <pc:spChg chg="mod">
          <ac:chgData name="Munarriz Herrador Iñaki" userId="11637121-8aee-420b-9db7-54651cb06796" providerId="ADAL" clId="{09FC869D-E65A-42A8-8676-0F1CC47404A1}" dt="2025-07-11T10:00:59.112" v="890" actId="20577"/>
          <ac:spMkLst>
            <pc:docMk/>
            <pc:sldMk cId="2241293320" sldId="2147483420"/>
            <ac:spMk id="4" creationId="{DE110A49-BF26-C4C7-616A-D4DC80F98B09}"/>
          </ac:spMkLst>
        </pc:spChg>
        <pc:spChg chg="mod">
          <ac:chgData name="Munarriz Herrador Iñaki" userId="11637121-8aee-420b-9db7-54651cb06796" providerId="ADAL" clId="{09FC869D-E65A-42A8-8676-0F1CC47404A1}" dt="2025-07-11T10:01:43.121" v="900" actId="20577"/>
          <ac:spMkLst>
            <pc:docMk/>
            <pc:sldMk cId="2241293320" sldId="2147483420"/>
            <ac:spMk id="6" creationId="{FF637865-3E85-3203-374B-2C19432A6B73}"/>
          </ac:spMkLst>
        </pc:spChg>
        <pc:spChg chg="mod">
          <ac:chgData name="Munarriz Herrador Iñaki" userId="11637121-8aee-420b-9db7-54651cb06796" providerId="ADAL" clId="{09FC869D-E65A-42A8-8676-0F1CC47404A1}" dt="2025-07-11T10:12:18.809" v="967" actId="20577"/>
          <ac:spMkLst>
            <pc:docMk/>
            <pc:sldMk cId="2241293320" sldId="2147483420"/>
            <ac:spMk id="7" creationId="{FCE7AFCD-8BA0-57CC-92DA-5259FF6D04FC}"/>
          </ac:spMkLst>
        </pc:spChg>
        <pc:picChg chg="add mod">
          <ac:chgData name="Munarriz Herrador Iñaki" userId="11637121-8aee-420b-9db7-54651cb06796" providerId="ADAL" clId="{09FC869D-E65A-42A8-8676-0F1CC47404A1}" dt="2025-07-11T10:06:32.695" v="954" actId="1076"/>
          <ac:picMkLst>
            <pc:docMk/>
            <pc:sldMk cId="2241293320" sldId="2147483420"/>
            <ac:picMk id="5" creationId="{EB8DD207-6583-9201-3B01-632FD5164BC5}"/>
          </ac:picMkLst>
        </pc:picChg>
      </pc:sldChg>
      <pc:sldChg chg="addSp delSp modSp mod">
        <pc:chgData name="Munarriz Herrador Iñaki" userId="11637121-8aee-420b-9db7-54651cb06796" providerId="ADAL" clId="{09FC869D-E65A-42A8-8676-0F1CC47404A1}" dt="2025-07-11T12:22:48.128" v="1733" actId="20577"/>
        <pc:sldMkLst>
          <pc:docMk/>
          <pc:sldMk cId="3338159658" sldId="2147483421"/>
        </pc:sldMkLst>
        <pc:spChg chg="mod">
          <ac:chgData name="Munarriz Herrador Iñaki" userId="11637121-8aee-420b-9db7-54651cb06796" providerId="ADAL" clId="{09FC869D-E65A-42A8-8676-0F1CC47404A1}" dt="2025-07-11T12:22:48.128" v="1733" actId="20577"/>
          <ac:spMkLst>
            <pc:docMk/>
            <pc:sldMk cId="3338159658" sldId="2147483421"/>
            <ac:spMk id="2" creationId="{3B37F899-FA53-4C24-4646-4B6B9E903329}"/>
          </ac:spMkLst>
        </pc:spChg>
        <pc:spChg chg="mod">
          <ac:chgData name="Munarriz Herrador Iñaki" userId="11637121-8aee-420b-9db7-54651cb06796" providerId="ADAL" clId="{09FC869D-E65A-42A8-8676-0F1CC47404A1}" dt="2025-07-11T10:30:40.736" v="1098" actId="20577"/>
          <ac:spMkLst>
            <pc:docMk/>
            <pc:sldMk cId="3338159658" sldId="2147483421"/>
            <ac:spMk id="4" creationId="{0F66483D-300F-864B-E899-DF51DDBEE45B}"/>
          </ac:spMkLst>
        </pc:spChg>
        <pc:spChg chg="mod">
          <ac:chgData name="Munarriz Herrador Iñaki" userId="11637121-8aee-420b-9db7-54651cb06796" providerId="ADAL" clId="{09FC869D-E65A-42A8-8676-0F1CC47404A1}" dt="2025-07-11T10:32:08.560" v="1114" actId="113"/>
          <ac:spMkLst>
            <pc:docMk/>
            <pc:sldMk cId="3338159658" sldId="2147483421"/>
            <ac:spMk id="6" creationId="{1066E964-838A-CADB-44E4-9CC80E76975A}"/>
          </ac:spMkLst>
        </pc:spChg>
        <pc:spChg chg="mod">
          <ac:chgData name="Munarriz Herrador Iñaki" userId="11637121-8aee-420b-9db7-54651cb06796" providerId="ADAL" clId="{09FC869D-E65A-42A8-8676-0F1CC47404A1}" dt="2025-07-11T10:32:34.100" v="1121" actId="1076"/>
          <ac:spMkLst>
            <pc:docMk/>
            <pc:sldMk cId="3338159658" sldId="2147483421"/>
            <ac:spMk id="7" creationId="{2C231F40-ED21-060A-0A17-1851668B7FFA}"/>
          </ac:spMkLst>
        </pc:spChg>
        <pc:picChg chg="add mod">
          <ac:chgData name="Munarriz Herrador Iñaki" userId="11637121-8aee-420b-9db7-54651cb06796" providerId="ADAL" clId="{09FC869D-E65A-42A8-8676-0F1CC47404A1}" dt="2025-07-11T10:29:56.670" v="1088" actId="14100"/>
          <ac:picMkLst>
            <pc:docMk/>
            <pc:sldMk cId="3338159658" sldId="2147483421"/>
            <ac:picMk id="3" creationId="{AA784D99-A021-C9BF-CEF1-ACFA854EBD19}"/>
          </ac:picMkLst>
        </pc:picChg>
        <pc:picChg chg="add mod">
          <ac:chgData name="Munarriz Herrador Iñaki" userId="11637121-8aee-420b-9db7-54651cb06796" providerId="ADAL" clId="{09FC869D-E65A-42A8-8676-0F1CC47404A1}" dt="2025-07-11T10:32:38.410" v="1122" actId="1076"/>
          <ac:picMkLst>
            <pc:docMk/>
            <pc:sldMk cId="3338159658" sldId="2147483421"/>
            <ac:picMk id="2050" creationId="{E65633E8-3AF8-5AF3-3163-768E7D5D8072}"/>
          </ac:picMkLst>
        </pc:picChg>
      </pc:sldChg>
      <pc:sldChg chg="addSp delSp modSp mod">
        <pc:chgData name="Munarriz Herrador Iñaki" userId="11637121-8aee-420b-9db7-54651cb06796" providerId="ADAL" clId="{09FC869D-E65A-42A8-8676-0F1CC47404A1}" dt="2025-07-11T12:22:50.878" v="1734" actId="20577"/>
        <pc:sldMkLst>
          <pc:docMk/>
          <pc:sldMk cId="2221249643" sldId="2147483422"/>
        </pc:sldMkLst>
        <pc:spChg chg="mod">
          <ac:chgData name="Munarriz Herrador Iñaki" userId="11637121-8aee-420b-9db7-54651cb06796" providerId="ADAL" clId="{09FC869D-E65A-42A8-8676-0F1CC47404A1}" dt="2025-07-11T12:22:50.878" v="1734" actId="20577"/>
          <ac:spMkLst>
            <pc:docMk/>
            <pc:sldMk cId="2221249643" sldId="2147483422"/>
            <ac:spMk id="2" creationId="{9D2F6C1D-FEDC-702C-5020-F94D872F3968}"/>
          </ac:spMkLst>
        </pc:spChg>
        <pc:spChg chg="mod">
          <ac:chgData name="Munarriz Herrador Iñaki" userId="11637121-8aee-420b-9db7-54651cb06796" providerId="ADAL" clId="{09FC869D-E65A-42A8-8676-0F1CC47404A1}" dt="2025-07-11T10:36:28.807" v="1147" actId="1076"/>
          <ac:spMkLst>
            <pc:docMk/>
            <pc:sldMk cId="2221249643" sldId="2147483422"/>
            <ac:spMk id="4" creationId="{D808C393-A724-2032-9DE8-0B1B1BCFE463}"/>
          </ac:spMkLst>
        </pc:spChg>
        <pc:spChg chg="mod">
          <ac:chgData name="Munarriz Herrador Iñaki" userId="11637121-8aee-420b-9db7-54651cb06796" providerId="ADAL" clId="{09FC869D-E65A-42A8-8676-0F1CC47404A1}" dt="2025-07-11T10:36:24.396" v="1145" actId="14100"/>
          <ac:spMkLst>
            <pc:docMk/>
            <pc:sldMk cId="2221249643" sldId="2147483422"/>
            <ac:spMk id="6" creationId="{646AC361-A9CD-B09B-FD22-3A537C56C047}"/>
          </ac:spMkLst>
        </pc:spChg>
        <pc:spChg chg="mod">
          <ac:chgData name="Munarriz Herrador Iñaki" userId="11637121-8aee-420b-9db7-54651cb06796" providerId="ADAL" clId="{09FC869D-E65A-42A8-8676-0F1CC47404A1}" dt="2025-07-11T10:38:32.242" v="1153" actId="20577"/>
          <ac:spMkLst>
            <pc:docMk/>
            <pc:sldMk cId="2221249643" sldId="2147483422"/>
            <ac:spMk id="7" creationId="{F411F693-FDAB-4FEE-A7CF-AF434D3FE9C7}"/>
          </ac:spMkLst>
        </pc:spChg>
        <pc:picChg chg="add mod">
          <ac:chgData name="Munarriz Herrador Iñaki" userId="11637121-8aee-420b-9db7-54651cb06796" providerId="ADAL" clId="{09FC869D-E65A-42A8-8676-0F1CC47404A1}" dt="2025-07-11T10:36:20.567" v="1144" actId="1076"/>
          <ac:picMkLst>
            <pc:docMk/>
            <pc:sldMk cId="2221249643" sldId="2147483422"/>
            <ac:picMk id="3074" creationId="{735AA49E-FB3C-40E5-0EDA-3BF6D00E022E}"/>
          </ac:picMkLst>
        </pc:picChg>
      </pc:sldChg>
      <pc:sldChg chg="addSp delSp modSp mod">
        <pc:chgData name="Munarriz Herrador Iñaki" userId="11637121-8aee-420b-9db7-54651cb06796" providerId="ADAL" clId="{09FC869D-E65A-42A8-8676-0F1CC47404A1}" dt="2025-07-11T12:22:40.510" v="1730" actId="20577"/>
        <pc:sldMkLst>
          <pc:docMk/>
          <pc:sldMk cId="2604043654" sldId="2147483423"/>
        </pc:sldMkLst>
        <pc:spChg chg="mod">
          <ac:chgData name="Munarriz Herrador Iñaki" userId="11637121-8aee-420b-9db7-54651cb06796" providerId="ADAL" clId="{09FC869D-E65A-42A8-8676-0F1CC47404A1}" dt="2025-07-11T12:22:40.510" v="1730" actId="20577"/>
          <ac:spMkLst>
            <pc:docMk/>
            <pc:sldMk cId="2604043654" sldId="2147483423"/>
            <ac:spMk id="2" creationId="{C8035EEC-9AC8-B71D-AB5F-8B13BF6A5FF3}"/>
          </ac:spMkLst>
        </pc:spChg>
        <pc:spChg chg="mod">
          <ac:chgData name="Munarriz Herrador Iñaki" userId="11637121-8aee-420b-9db7-54651cb06796" providerId="ADAL" clId="{09FC869D-E65A-42A8-8676-0F1CC47404A1}" dt="2025-07-11T10:05:08.083" v="939" actId="1035"/>
          <ac:spMkLst>
            <pc:docMk/>
            <pc:sldMk cId="2604043654" sldId="2147483423"/>
            <ac:spMk id="4" creationId="{8D235F53-2B5B-5D30-E390-E1F1E98DDD46}"/>
          </ac:spMkLst>
        </pc:spChg>
        <pc:spChg chg="mod">
          <ac:chgData name="Munarriz Herrador Iñaki" userId="11637121-8aee-420b-9db7-54651cb06796" providerId="ADAL" clId="{09FC869D-E65A-42A8-8676-0F1CC47404A1}" dt="2025-07-11T10:02:57.776" v="917" actId="113"/>
          <ac:spMkLst>
            <pc:docMk/>
            <pc:sldMk cId="2604043654" sldId="2147483423"/>
            <ac:spMk id="6" creationId="{7F3A3E6B-049F-605D-9A22-A38D364AFB3E}"/>
          </ac:spMkLst>
        </pc:spChg>
        <pc:spChg chg="mod">
          <ac:chgData name="Munarriz Herrador Iñaki" userId="11637121-8aee-420b-9db7-54651cb06796" providerId="ADAL" clId="{09FC869D-E65A-42A8-8676-0F1CC47404A1}" dt="2025-07-11T10:11:52.912" v="960" actId="20577"/>
          <ac:spMkLst>
            <pc:docMk/>
            <pc:sldMk cId="2604043654" sldId="2147483423"/>
            <ac:spMk id="7" creationId="{2C7BA4D6-FEDC-25EB-0371-FF4CD00D153F}"/>
          </ac:spMkLst>
        </pc:spChg>
        <pc:picChg chg="add mod">
          <ac:chgData name="Munarriz Herrador Iñaki" userId="11637121-8aee-420b-9db7-54651cb06796" providerId="ADAL" clId="{09FC869D-E65A-42A8-8676-0F1CC47404A1}" dt="2025-07-11T10:03:24.559" v="923" actId="1076"/>
          <ac:picMkLst>
            <pc:docMk/>
            <pc:sldMk cId="2604043654" sldId="2147483423"/>
            <ac:picMk id="3" creationId="{C19F3841-54E9-5FB9-8D68-B299C9450EE6}"/>
          </ac:picMkLst>
        </pc:picChg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4052193775" sldId="2147483425"/>
        </pc:sldMkLst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311068668" sldId="2147483426"/>
        </pc:sldMkLst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3711774561" sldId="2147483427"/>
        </pc:sldMkLst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2610362918" sldId="2147483429"/>
        </pc:sldMkLst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2915422796" sldId="2147483430"/>
        </pc:sldMkLst>
      </pc:sldChg>
      <pc:sldChg chg="del">
        <pc:chgData name="Munarriz Herrador Iñaki" userId="11637121-8aee-420b-9db7-54651cb06796" providerId="ADAL" clId="{09FC869D-E65A-42A8-8676-0F1CC47404A1}" dt="2025-07-11T09:25:20.648" v="812" actId="47"/>
        <pc:sldMkLst>
          <pc:docMk/>
          <pc:sldMk cId="1786951196" sldId="2147483431"/>
        </pc:sldMkLst>
      </pc:sldChg>
      <pc:sldChg chg="addSp delSp modSp add del mod">
        <pc:chgData name="Munarriz Herrador Iñaki" userId="11637121-8aee-420b-9db7-54651cb06796" providerId="ADAL" clId="{09FC869D-E65A-42A8-8676-0F1CC47404A1}" dt="2025-07-10T14:26:43.905" v="801" actId="47"/>
        <pc:sldMkLst>
          <pc:docMk/>
          <pc:sldMk cId="3343249054" sldId="2147483432"/>
        </pc:sldMkLst>
      </pc:sldChg>
      <pc:sldChg chg="addSp delSp modSp add mod">
        <pc:chgData name="Munarriz Herrador Iñaki" userId="11637121-8aee-420b-9db7-54651cb06796" providerId="ADAL" clId="{09FC869D-E65A-42A8-8676-0F1CC47404A1}" dt="2025-07-11T12:22:55.018" v="1735" actId="20577"/>
        <pc:sldMkLst>
          <pc:docMk/>
          <pc:sldMk cId="892918620" sldId="2147483433"/>
        </pc:sldMkLst>
        <pc:spChg chg="add mod">
          <ac:chgData name="Munarriz Herrador Iñaki" userId="11637121-8aee-420b-9db7-54651cb06796" providerId="ADAL" clId="{09FC869D-E65A-42A8-8676-0F1CC47404A1}" dt="2025-07-11T12:22:55.018" v="1735" actId="20577"/>
          <ac:spMkLst>
            <pc:docMk/>
            <pc:sldMk cId="892918620" sldId="2147483433"/>
            <ac:spMk id="3" creationId="{A722C5F9-7A90-DD3F-2A30-A3FD24B5D877}"/>
          </ac:spMkLst>
        </pc:spChg>
        <pc:spChg chg="mod">
          <ac:chgData name="Munarriz Herrador Iñaki" userId="11637121-8aee-420b-9db7-54651cb06796" providerId="ADAL" clId="{09FC869D-E65A-42A8-8676-0F1CC47404A1}" dt="2025-07-10T07:45:42.232" v="231" actId="1035"/>
          <ac:spMkLst>
            <pc:docMk/>
            <pc:sldMk cId="892918620" sldId="2147483433"/>
            <ac:spMk id="6" creationId="{BF237D39-D270-B700-C58D-329CBE5B0EBE}"/>
          </ac:spMkLst>
        </pc:spChg>
        <pc:spChg chg="add mod">
          <ac:chgData name="Munarriz Herrador Iñaki" userId="11637121-8aee-420b-9db7-54651cb06796" providerId="ADAL" clId="{09FC869D-E65A-42A8-8676-0F1CC47404A1}" dt="2025-07-10T07:29:52.588" v="173" actId="554"/>
          <ac:spMkLst>
            <pc:docMk/>
            <pc:sldMk cId="892918620" sldId="2147483433"/>
            <ac:spMk id="11" creationId="{504858CC-2340-4FCD-5F6A-4D896098F15D}"/>
          </ac:spMkLst>
        </pc:spChg>
        <pc:spChg chg="add mod">
          <ac:chgData name="Munarriz Herrador Iñaki" userId="11637121-8aee-420b-9db7-54651cb06796" providerId="ADAL" clId="{09FC869D-E65A-42A8-8676-0F1CC47404A1}" dt="2025-07-10T07:29:52.588" v="173" actId="554"/>
          <ac:spMkLst>
            <pc:docMk/>
            <pc:sldMk cId="892918620" sldId="2147483433"/>
            <ac:spMk id="14" creationId="{F224C569-B187-FF8F-EEA5-75A0B7333946}"/>
          </ac:spMkLst>
        </pc:spChg>
        <pc:grpChg chg="mod">
          <ac:chgData name="Munarriz Herrador Iñaki" userId="11637121-8aee-420b-9db7-54651cb06796" providerId="ADAL" clId="{09FC869D-E65A-42A8-8676-0F1CC47404A1}" dt="2025-07-10T07:02:22.572" v="56" actId="1035"/>
          <ac:grpSpMkLst>
            <pc:docMk/>
            <pc:sldMk cId="892918620" sldId="2147483433"/>
            <ac:grpSpMk id="13" creationId="{9E06F61B-288C-8438-A04D-4615C2147A13}"/>
          </ac:grpSpMkLst>
        </pc:grpChg>
      </pc:sldChg>
      <pc:sldChg chg="addSp delSp modSp add mod">
        <pc:chgData name="Munarriz Herrador Iñaki" userId="11637121-8aee-420b-9db7-54651cb06796" providerId="ADAL" clId="{09FC869D-E65A-42A8-8676-0F1CC47404A1}" dt="2025-07-11T12:22:57.413" v="1736" actId="20577"/>
        <pc:sldMkLst>
          <pc:docMk/>
          <pc:sldMk cId="3854340496" sldId="2147483434"/>
        </pc:sldMkLst>
        <pc:spChg chg="add mod">
          <ac:chgData name="Munarriz Herrador Iñaki" userId="11637121-8aee-420b-9db7-54651cb06796" providerId="ADAL" clId="{09FC869D-E65A-42A8-8676-0F1CC47404A1}" dt="2025-07-11T12:22:57.413" v="1736" actId="20577"/>
          <ac:spMkLst>
            <pc:docMk/>
            <pc:sldMk cId="3854340496" sldId="2147483434"/>
            <ac:spMk id="4" creationId="{3C7CFE95-A35B-28F5-F3AF-528E716492EA}"/>
          </ac:spMkLst>
        </pc:spChg>
        <pc:spChg chg="mod">
          <ac:chgData name="Munarriz Herrador Iñaki" userId="11637121-8aee-420b-9db7-54651cb06796" providerId="ADAL" clId="{09FC869D-E65A-42A8-8676-0F1CC47404A1}" dt="2025-07-10T07:45:10.181" v="221" actId="14100"/>
          <ac:spMkLst>
            <pc:docMk/>
            <pc:sldMk cId="3854340496" sldId="2147483434"/>
            <ac:spMk id="6" creationId="{DEEE8A5F-18D1-85D5-40A2-20B334FF7BDA}"/>
          </ac:spMkLst>
        </pc:spChg>
        <pc:spChg chg="add mod">
          <ac:chgData name="Munarriz Herrador Iñaki" userId="11637121-8aee-420b-9db7-54651cb06796" providerId="ADAL" clId="{09FC869D-E65A-42A8-8676-0F1CC47404A1}" dt="2025-07-10T07:30:17.628" v="179" actId="208"/>
          <ac:spMkLst>
            <pc:docMk/>
            <pc:sldMk cId="3854340496" sldId="2147483434"/>
            <ac:spMk id="9" creationId="{BDB1F511-240F-91EB-C455-84443DE6C087}"/>
          </ac:spMkLst>
        </pc:spChg>
        <pc:spChg chg="add mod">
          <ac:chgData name="Munarriz Herrador Iñaki" userId="11637121-8aee-420b-9db7-54651cb06796" providerId="ADAL" clId="{09FC869D-E65A-42A8-8676-0F1CC47404A1}" dt="2025-07-10T07:51:51.965" v="314" actId="20577"/>
          <ac:spMkLst>
            <pc:docMk/>
            <pc:sldMk cId="3854340496" sldId="2147483434"/>
            <ac:spMk id="15" creationId="{252FF129-2BF4-FE34-DEBF-69E30C9F2AAE}"/>
          </ac:spMkLst>
        </pc:spChg>
        <pc:grpChg chg="mod">
          <ac:chgData name="Munarriz Herrador Iñaki" userId="11637121-8aee-420b-9db7-54651cb06796" providerId="ADAL" clId="{09FC869D-E65A-42A8-8676-0F1CC47404A1}" dt="2025-07-10T07:02:09.805" v="50" actId="1038"/>
          <ac:grpSpMkLst>
            <pc:docMk/>
            <pc:sldMk cId="3854340496" sldId="2147483434"/>
            <ac:grpSpMk id="14" creationId="{AB5B2EFA-601D-5610-8D33-DFBC14686DF4}"/>
          </ac:grpSpMkLst>
        </pc:grpChg>
      </pc:sldChg>
      <pc:sldChg chg="modSp add del mod">
        <pc:chgData name="Munarriz Herrador Iñaki" userId="11637121-8aee-420b-9db7-54651cb06796" providerId="ADAL" clId="{09FC869D-E65A-42A8-8676-0F1CC47404A1}" dt="2025-07-10T08:20:39.517" v="555" actId="2696"/>
        <pc:sldMkLst>
          <pc:docMk/>
          <pc:sldMk cId="1258427013" sldId="2147483435"/>
        </pc:sldMkLst>
      </pc:sldChg>
      <pc:sldChg chg="addSp delSp modSp add del mod ord">
        <pc:chgData name="Munarriz Herrador Iñaki" userId="11637121-8aee-420b-9db7-54651cb06796" providerId="ADAL" clId="{09FC869D-E65A-42A8-8676-0F1CC47404A1}" dt="2025-07-10T14:26:43.905" v="801" actId="47"/>
        <pc:sldMkLst>
          <pc:docMk/>
          <pc:sldMk cId="3531278193" sldId="2147483436"/>
        </pc:sldMkLst>
      </pc:sldChg>
      <pc:sldChg chg="addSp modSp add del mod">
        <pc:chgData name="Munarriz Herrador Iñaki" userId="11637121-8aee-420b-9db7-54651cb06796" providerId="ADAL" clId="{09FC869D-E65A-42A8-8676-0F1CC47404A1}" dt="2025-07-10T14:26:43.905" v="801" actId="47"/>
        <pc:sldMkLst>
          <pc:docMk/>
          <pc:sldMk cId="2560229344" sldId="2147483437"/>
        </pc:sldMkLst>
      </pc:sldChg>
      <pc:sldChg chg="modSp add mod">
        <pc:chgData name="Munarriz Herrador Iñaki" userId="11637121-8aee-420b-9db7-54651cb06796" providerId="ADAL" clId="{09FC869D-E65A-42A8-8676-0F1CC47404A1}" dt="2025-07-11T12:22:59.493" v="1737" actId="20577"/>
        <pc:sldMkLst>
          <pc:docMk/>
          <pc:sldMk cId="3495302444" sldId="2147483438"/>
        </pc:sldMkLst>
        <pc:spChg chg="mod">
          <ac:chgData name="Munarriz Herrador Iñaki" userId="11637121-8aee-420b-9db7-54651cb06796" providerId="ADAL" clId="{09FC869D-E65A-42A8-8676-0F1CC47404A1}" dt="2025-07-11T12:22:59.493" v="1737" actId="20577"/>
          <ac:spMkLst>
            <pc:docMk/>
            <pc:sldMk cId="3495302444" sldId="2147483438"/>
            <ac:spMk id="4" creationId="{8F2DBA0A-EEA9-1888-FDDE-3D397BDE5E15}"/>
          </ac:spMkLst>
        </pc:spChg>
      </pc:sldChg>
      <pc:sldChg chg="modSp add mod">
        <pc:chgData name="Munarriz Herrador Iñaki" userId="11637121-8aee-420b-9db7-54651cb06796" providerId="ADAL" clId="{09FC869D-E65A-42A8-8676-0F1CC47404A1}" dt="2025-07-11T12:23:02.438" v="1738" actId="20577"/>
        <pc:sldMkLst>
          <pc:docMk/>
          <pc:sldMk cId="2324279003" sldId="2147483439"/>
        </pc:sldMkLst>
        <pc:spChg chg="mod">
          <ac:chgData name="Munarriz Herrador Iñaki" userId="11637121-8aee-420b-9db7-54651cb06796" providerId="ADAL" clId="{09FC869D-E65A-42A8-8676-0F1CC47404A1}" dt="2025-07-11T12:23:02.438" v="1738" actId="20577"/>
          <ac:spMkLst>
            <pc:docMk/>
            <pc:sldMk cId="2324279003" sldId="2147483439"/>
            <ac:spMk id="2" creationId="{000577B3-B33F-570A-41CE-326A44B82D64}"/>
          </ac:spMkLst>
        </pc:spChg>
        <pc:picChg chg="mod">
          <ac:chgData name="Munarriz Herrador Iñaki" userId="11637121-8aee-420b-9db7-54651cb06796" providerId="ADAL" clId="{09FC869D-E65A-42A8-8676-0F1CC47404A1}" dt="2025-07-11T09:26:04.842" v="844" actId="1036"/>
          <ac:picMkLst>
            <pc:docMk/>
            <pc:sldMk cId="2324279003" sldId="2147483439"/>
            <ac:picMk id="12" creationId="{DFB93C10-1CC7-0E72-2182-E86D1A62574B}"/>
          </ac:picMkLst>
        </pc:picChg>
      </pc:sldChg>
      <pc:sldChg chg="addSp modSp add mod">
        <pc:chgData name="Munarriz Herrador Iñaki" userId="11637121-8aee-420b-9db7-54651cb06796" providerId="ADAL" clId="{09FC869D-E65A-42A8-8676-0F1CC47404A1}" dt="2025-07-11T12:23:04.778" v="1739" actId="20577"/>
        <pc:sldMkLst>
          <pc:docMk/>
          <pc:sldMk cId="2159119159" sldId="2147483440"/>
        </pc:sldMkLst>
        <pc:spChg chg="mod">
          <ac:chgData name="Munarriz Herrador Iñaki" userId="11637121-8aee-420b-9db7-54651cb06796" providerId="ADAL" clId="{09FC869D-E65A-42A8-8676-0F1CC47404A1}" dt="2025-07-11T12:23:04.778" v="1739" actId="20577"/>
          <ac:spMkLst>
            <pc:docMk/>
            <pc:sldMk cId="2159119159" sldId="2147483440"/>
            <ac:spMk id="2" creationId="{9928A921-BC1B-7470-9A22-971A9F5FC2A5}"/>
          </ac:spMkLst>
        </pc:spChg>
        <pc:spChg chg="add mod">
          <ac:chgData name="Munarriz Herrador Iñaki" userId="11637121-8aee-420b-9db7-54651cb06796" providerId="ADAL" clId="{09FC869D-E65A-42A8-8676-0F1CC47404A1}" dt="2025-07-10T14:27:03.701" v="811" actId="14100"/>
          <ac:spMkLst>
            <pc:docMk/>
            <pc:sldMk cId="2159119159" sldId="2147483440"/>
            <ac:spMk id="6" creationId="{9E413FCF-77B6-4F85-B277-B4392A8ADB9D}"/>
          </ac:spMkLst>
        </pc:spChg>
        <pc:spChg chg="add mod">
          <ac:chgData name="Munarriz Herrador Iñaki" userId="11637121-8aee-420b-9db7-54651cb06796" providerId="ADAL" clId="{09FC869D-E65A-42A8-8676-0F1CC47404A1}" dt="2025-07-11T09:27:11.393" v="882" actId="1076"/>
          <ac:spMkLst>
            <pc:docMk/>
            <pc:sldMk cId="2159119159" sldId="2147483440"/>
            <ac:spMk id="7" creationId="{FF29112B-37FA-0F15-1548-36136399372D}"/>
          </ac:spMkLst>
        </pc:spChg>
        <pc:picChg chg="mod">
          <ac:chgData name="Munarriz Herrador Iñaki" userId="11637121-8aee-420b-9db7-54651cb06796" providerId="ADAL" clId="{09FC869D-E65A-42A8-8676-0F1CC47404A1}" dt="2025-07-11T09:26:44.752" v="874" actId="1076"/>
          <ac:picMkLst>
            <pc:docMk/>
            <pc:sldMk cId="2159119159" sldId="2147483440"/>
            <ac:picMk id="3" creationId="{3A1AADB0-136D-5C76-D25F-2F9A3AF31411}"/>
          </ac:picMkLst>
        </pc:picChg>
      </pc:sldChg>
      <pc:sldChg chg="addSp delSp modSp add mod">
        <pc:chgData name="Munarriz Herrador Iñaki" userId="11637121-8aee-420b-9db7-54651cb06796" providerId="ADAL" clId="{09FC869D-E65A-42A8-8676-0F1CC47404A1}" dt="2025-07-11T12:22:43.204" v="1732" actId="20577"/>
        <pc:sldMkLst>
          <pc:docMk/>
          <pc:sldMk cId="772332504" sldId="2147483441"/>
        </pc:sldMkLst>
        <pc:spChg chg="mod">
          <ac:chgData name="Munarriz Herrador Iñaki" userId="11637121-8aee-420b-9db7-54651cb06796" providerId="ADAL" clId="{09FC869D-E65A-42A8-8676-0F1CC47404A1}" dt="2025-07-11T12:22:43.204" v="1732" actId="20577"/>
          <ac:spMkLst>
            <pc:docMk/>
            <pc:sldMk cId="772332504" sldId="2147483441"/>
            <ac:spMk id="2" creationId="{F76CA6FA-B8EC-D11B-3887-B85D86E2690F}"/>
          </ac:spMkLst>
        </pc:spChg>
        <pc:spChg chg="mod">
          <ac:chgData name="Munarriz Herrador Iñaki" userId="11637121-8aee-420b-9db7-54651cb06796" providerId="ADAL" clId="{09FC869D-E65A-42A8-8676-0F1CC47404A1}" dt="2025-07-11T10:23:01.007" v="1078" actId="14100"/>
          <ac:spMkLst>
            <pc:docMk/>
            <pc:sldMk cId="772332504" sldId="2147483441"/>
            <ac:spMk id="4" creationId="{4148A117-1F84-C5D4-E280-D9CB9235B86B}"/>
          </ac:spMkLst>
        </pc:spChg>
        <pc:spChg chg="mod">
          <ac:chgData name="Munarriz Herrador Iñaki" userId="11637121-8aee-420b-9db7-54651cb06796" providerId="ADAL" clId="{09FC869D-E65A-42A8-8676-0F1CC47404A1}" dt="2025-07-11T10:22:46.757" v="1074" actId="14100"/>
          <ac:spMkLst>
            <pc:docMk/>
            <pc:sldMk cId="772332504" sldId="2147483441"/>
            <ac:spMk id="6" creationId="{19F62A05-CB88-6E4D-188A-D97E9AC70115}"/>
          </ac:spMkLst>
        </pc:spChg>
        <pc:spChg chg="mod">
          <ac:chgData name="Munarriz Herrador Iñaki" userId="11637121-8aee-420b-9db7-54651cb06796" providerId="ADAL" clId="{09FC869D-E65A-42A8-8676-0F1CC47404A1}" dt="2025-07-11T10:22:54.339" v="1076" actId="14100"/>
          <ac:spMkLst>
            <pc:docMk/>
            <pc:sldMk cId="772332504" sldId="2147483441"/>
            <ac:spMk id="7" creationId="{272B87D5-CC0A-C78C-011A-F2E8031B33BC}"/>
          </ac:spMkLst>
        </pc:spChg>
        <pc:picChg chg="add mod">
          <ac:chgData name="Munarriz Herrador Iñaki" userId="11637121-8aee-420b-9db7-54651cb06796" providerId="ADAL" clId="{09FC869D-E65A-42A8-8676-0F1CC47404A1}" dt="2025-07-11T10:22:50.199" v="1075" actId="14100"/>
          <ac:picMkLst>
            <pc:docMk/>
            <pc:sldMk cId="772332504" sldId="2147483441"/>
            <ac:picMk id="1028" creationId="{B10878DF-E04D-D239-A88A-55F4DDE31DB9}"/>
          </ac:picMkLst>
        </pc:picChg>
      </pc:sldChg>
      <pc:sldChg chg="add del">
        <pc:chgData name="Munarriz Herrador Iñaki" userId="11637121-8aee-420b-9db7-54651cb06796" providerId="ADAL" clId="{09FC869D-E65A-42A8-8676-0F1CC47404A1}" dt="2025-07-11T10:23:13.226" v="1080" actId="47"/>
        <pc:sldMkLst>
          <pc:docMk/>
          <pc:sldMk cId="2452067137" sldId="2147483442"/>
        </pc:sldMkLst>
      </pc:sldChg>
      <pc:sldChg chg="addSp delSp modSp add mod ord">
        <pc:chgData name="Munarriz Herrador Iñaki" userId="11637121-8aee-420b-9db7-54651cb06796" providerId="ADAL" clId="{09FC869D-E65A-42A8-8676-0F1CC47404A1}" dt="2025-07-14T16:22:00.074" v="1824" actId="20577"/>
        <pc:sldMkLst>
          <pc:docMk/>
          <pc:sldMk cId="2467260044" sldId="2147483442"/>
        </pc:sldMkLst>
        <pc:spChg chg="add mod">
          <ac:chgData name="Munarriz Herrador Iñaki" userId="11637121-8aee-420b-9db7-54651cb06796" providerId="ADAL" clId="{09FC869D-E65A-42A8-8676-0F1CC47404A1}" dt="2025-07-14T16:22:00.074" v="1824" actId="20577"/>
          <ac:spMkLst>
            <pc:docMk/>
            <pc:sldMk cId="2467260044" sldId="2147483442"/>
            <ac:spMk id="2" creationId="{C7DB5165-2E58-8764-B012-EC2071E18F51}"/>
          </ac:spMkLst>
        </pc:spChg>
        <pc:spChg chg="mod">
          <ac:chgData name="Munarriz Herrador Iñaki" userId="11637121-8aee-420b-9db7-54651cb06796" providerId="ADAL" clId="{09FC869D-E65A-42A8-8676-0F1CC47404A1}" dt="2025-07-14T15:57:27.499" v="1761" actId="20577"/>
          <ac:spMkLst>
            <pc:docMk/>
            <pc:sldMk cId="2467260044" sldId="2147483442"/>
            <ac:spMk id="3" creationId="{8AEE7B05-1167-0AB2-ADBF-23683E3FDE74}"/>
          </ac:spMkLst>
        </pc:spChg>
        <pc:spChg chg="del">
          <ac:chgData name="Munarriz Herrador Iñaki" userId="11637121-8aee-420b-9db7-54651cb06796" providerId="ADAL" clId="{09FC869D-E65A-42A8-8676-0F1CC47404A1}" dt="2025-07-14T15:57:37.988" v="1762" actId="478"/>
          <ac:spMkLst>
            <pc:docMk/>
            <pc:sldMk cId="2467260044" sldId="2147483442"/>
            <ac:spMk id="6" creationId="{A55FA917-F6EE-8A81-8BBC-94DB7F8507A4}"/>
          </ac:spMkLst>
        </pc:spChg>
        <pc:spChg chg="del">
          <ac:chgData name="Munarriz Herrador Iñaki" userId="11637121-8aee-420b-9db7-54651cb06796" providerId="ADAL" clId="{09FC869D-E65A-42A8-8676-0F1CC47404A1}" dt="2025-07-14T15:57:37.988" v="1762" actId="478"/>
          <ac:spMkLst>
            <pc:docMk/>
            <pc:sldMk cId="2467260044" sldId="2147483442"/>
            <ac:spMk id="11" creationId="{CFDBB1BB-6D21-622E-487F-30B98FCDC5E0}"/>
          </ac:spMkLst>
        </pc:spChg>
        <pc:spChg chg="del">
          <ac:chgData name="Munarriz Herrador Iñaki" userId="11637121-8aee-420b-9db7-54651cb06796" providerId="ADAL" clId="{09FC869D-E65A-42A8-8676-0F1CC47404A1}" dt="2025-07-14T15:57:37.988" v="1762" actId="478"/>
          <ac:spMkLst>
            <pc:docMk/>
            <pc:sldMk cId="2467260044" sldId="2147483442"/>
            <ac:spMk id="14" creationId="{73AD81F3-D7AD-6093-4264-431AB531DE35}"/>
          </ac:spMkLst>
        </pc:spChg>
        <pc:grpChg chg="del">
          <ac:chgData name="Munarriz Herrador Iñaki" userId="11637121-8aee-420b-9db7-54651cb06796" providerId="ADAL" clId="{09FC869D-E65A-42A8-8676-0F1CC47404A1}" dt="2025-07-14T15:57:37.988" v="1762" actId="478"/>
          <ac:grpSpMkLst>
            <pc:docMk/>
            <pc:sldMk cId="2467260044" sldId="2147483442"/>
            <ac:grpSpMk id="13" creationId="{53D86EDB-572E-637F-1D8B-1423A57E391D}"/>
          </ac:grpSpMkLst>
        </pc:grpChg>
      </pc:sldChg>
      <pc:sldChg chg="addSp modSp add mod">
        <pc:chgData name="Munarriz Herrador Iñaki" userId="11637121-8aee-420b-9db7-54651cb06796" providerId="ADAL" clId="{09FC869D-E65A-42A8-8676-0F1CC47404A1}" dt="2025-07-14T16:29:27.137" v="1936" actId="20577"/>
        <pc:sldMkLst>
          <pc:docMk/>
          <pc:sldMk cId="2964011708" sldId="2147483443"/>
        </pc:sldMkLst>
        <pc:spChg chg="mod">
          <ac:chgData name="Munarriz Herrador Iñaki" userId="11637121-8aee-420b-9db7-54651cb06796" providerId="ADAL" clId="{09FC869D-E65A-42A8-8676-0F1CC47404A1}" dt="2025-07-14T16:29:27.137" v="1936" actId="20577"/>
          <ac:spMkLst>
            <pc:docMk/>
            <pc:sldMk cId="2964011708" sldId="2147483443"/>
            <ac:spMk id="2" creationId="{6905D348-25D4-2C68-A115-2E945E0C0A89}"/>
          </ac:spMkLst>
        </pc:spChg>
        <pc:spChg chg="add mod">
          <ac:chgData name="Munarriz Herrador Iñaki" userId="11637121-8aee-420b-9db7-54651cb06796" providerId="ADAL" clId="{09FC869D-E65A-42A8-8676-0F1CC47404A1}" dt="2025-07-14T16:29:05.736" v="1924" actId="1036"/>
          <ac:spMkLst>
            <pc:docMk/>
            <pc:sldMk cId="2964011708" sldId="2147483443"/>
            <ac:spMk id="4" creationId="{11502F1D-C172-24E9-9DDC-B398A074EA6D}"/>
          </ac:spMkLst>
        </pc:spChg>
      </pc:sldChg>
      <pc:sldChg chg="modSp add mod ord">
        <pc:chgData name="Munarriz Herrador Iñaki" userId="11637121-8aee-420b-9db7-54651cb06796" providerId="ADAL" clId="{09FC869D-E65A-42A8-8676-0F1CC47404A1}" dt="2025-07-14T16:26:55.737" v="1885" actId="948"/>
        <pc:sldMkLst>
          <pc:docMk/>
          <pc:sldMk cId="1988325447" sldId="2147483444"/>
        </pc:sldMkLst>
        <pc:spChg chg="mod">
          <ac:chgData name="Munarriz Herrador Iñaki" userId="11637121-8aee-420b-9db7-54651cb06796" providerId="ADAL" clId="{09FC869D-E65A-42A8-8676-0F1CC47404A1}" dt="2025-07-14T16:26:55.737" v="1885" actId="948"/>
          <ac:spMkLst>
            <pc:docMk/>
            <pc:sldMk cId="1988325447" sldId="2147483444"/>
            <ac:spMk id="2" creationId="{A736BA32-B588-3155-7256-1D56AF073A0A}"/>
          </ac:spMkLst>
        </pc:spChg>
      </pc:sldChg>
    </pc:docChg>
  </pc:docChgLst>
  <pc:docChgLst>
    <pc:chgData name="Munarriz Herrador Iñaki" userId="11637121-8aee-420b-9db7-54651cb06796" providerId="ADAL" clId="{028FF6F6-5B42-4493-A926-90FAA58B796E}"/>
    <pc:docChg chg="undo redo custSel addSld delSld modSld sldOrd modSection">
      <pc:chgData name="Munarriz Herrador Iñaki" userId="11637121-8aee-420b-9db7-54651cb06796" providerId="ADAL" clId="{028FF6F6-5B42-4493-A926-90FAA58B796E}" dt="2025-03-20T14:51:52.641" v="3792"/>
      <pc:docMkLst>
        <pc:docMk/>
      </pc:docMkLst>
      <pc:sldChg chg="modSp mod">
        <pc:chgData name="Munarriz Herrador Iñaki" userId="11637121-8aee-420b-9db7-54651cb06796" providerId="ADAL" clId="{028FF6F6-5B42-4493-A926-90FAA58B796E}" dt="2025-03-19T17:00:12.720" v="35" actId="20577"/>
        <pc:sldMkLst>
          <pc:docMk/>
          <pc:sldMk cId="0" sldId="2147483315"/>
        </pc:sldMkLst>
      </pc:sldChg>
      <pc:sldChg chg="modSp add mod">
        <pc:chgData name="Munarriz Herrador Iñaki" userId="11637121-8aee-420b-9db7-54651cb06796" providerId="ADAL" clId="{028FF6F6-5B42-4493-A926-90FAA58B796E}" dt="2025-03-20T07:59:19.813" v="1936" actId="20577"/>
        <pc:sldMkLst>
          <pc:docMk/>
          <pc:sldMk cId="88093545" sldId="2147483372"/>
        </pc:sldMkLst>
      </pc:sldChg>
      <pc:sldChg chg="addSp delSp modSp mod">
        <pc:chgData name="Munarriz Herrador Iñaki" userId="11637121-8aee-420b-9db7-54651cb06796" providerId="ADAL" clId="{028FF6F6-5B42-4493-A926-90FAA58B796E}" dt="2025-03-20T08:44:57.924" v="3094" actId="20577"/>
        <pc:sldMkLst>
          <pc:docMk/>
          <pc:sldMk cId="1243781170" sldId="2147483373"/>
        </pc:sldMkLst>
      </pc:sldChg>
      <pc:sldChg chg="addSp delSp modSp mod ord">
        <pc:chgData name="Munarriz Herrador Iñaki" userId="11637121-8aee-420b-9db7-54651cb06796" providerId="ADAL" clId="{028FF6F6-5B42-4493-A926-90FAA58B796E}" dt="2025-03-20T09:07:53.148" v="3388" actId="20577"/>
        <pc:sldMkLst>
          <pc:docMk/>
          <pc:sldMk cId="2818866366" sldId="2147483379"/>
        </pc:sldMkLst>
      </pc:sldChg>
      <pc:sldChg chg="delSp modSp mod">
        <pc:chgData name="Munarriz Herrador Iñaki" userId="11637121-8aee-420b-9db7-54651cb06796" providerId="ADAL" clId="{028FF6F6-5B42-4493-A926-90FAA58B796E}" dt="2025-03-19T23:07:26.854" v="1724" actId="255"/>
        <pc:sldMkLst>
          <pc:docMk/>
          <pc:sldMk cId="3033939552" sldId="2147483388"/>
        </pc:sldMkLst>
      </pc:sldChg>
      <pc:sldChg chg="addSp delSp modSp mod ord">
        <pc:chgData name="Munarriz Herrador Iñaki" userId="11637121-8aee-420b-9db7-54651cb06796" providerId="ADAL" clId="{028FF6F6-5B42-4493-A926-90FAA58B796E}" dt="2025-03-20T08:53:30.506" v="3188" actId="478"/>
        <pc:sldMkLst>
          <pc:docMk/>
          <pc:sldMk cId="937404720" sldId="2147483389"/>
        </pc:sldMkLst>
      </pc:sldChg>
      <pc:sldChg chg="ord">
        <pc:chgData name="Munarriz Herrador Iñaki" userId="11637121-8aee-420b-9db7-54651cb06796" providerId="ADAL" clId="{028FF6F6-5B42-4493-A926-90FAA58B796E}" dt="2025-03-19T23:08:14.105" v="1730"/>
        <pc:sldMkLst>
          <pc:docMk/>
          <pc:sldMk cId="538967907" sldId="2147483390"/>
        </pc:sldMkLst>
      </pc:sldChg>
      <pc:sldChg chg="ord">
        <pc:chgData name="Munarriz Herrador Iñaki" userId="11637121-8aee-420b-9db7-54651cb06796" providerId="ADAL" clId="{028FF6F6-5B42-4493-A926-90FAA58B796E}" dt="2025-03-19T23:08:14.105" v="1730"/>
        <pc:sldMkLst>
          <pc:docMk/>
          <pc:sldMk cId="2900280720" sldId="2147483391"/>
        </pc:sldMkLst>
      </pc:sldChg>
      <pc:sldChg chg="del">
        <pc:chgData name="Munarriz Herrador Iñaki" userId="11637121-8aee-420b-9db7-54651cb06796" providerId="ADAL" clId="{028FF6F6-5B42-4493-A926-90FAA58B796E}" dt="2025-03-19T23:08:39.984" v="1731" actId="47"/>
        <pc:sldMkLst>
          <pc:docMk/>
          <pc:sldMk cId="2732855569" sldId="2147483392"/>
        </pc:sldMkLst>
      </pc:sldChg>
      <pc:sldChg chg="del">
        <pc:chgData name="Munarriz Herrador Iñaki" userId="11637121-8aee-420b-9db7-54651cb06796" providerId="ADAL" clId="{028FF6F6-5B42-4493-A926-90FAA58B796E}" dt="2025-03-19T23:07:34.665" v="1725" actId="47"/>
        <pc:sldMkLst>
          <pc:docMk/>
          <pc:sldMk cId="45361350" sldId="2147483393"/>
        </pc:sldMkLst>
      </pc:sldChg>
      <pc:sldChg chg="del">
        <pc:chgData name="Munarriz Herrador Iñaki" userId="11637121-8aee-420b-9db7-54651cb06796" providerId="ADAL" clId="{028FF6F6-5B42-4493-A926-90FAA58B796E}" dt="2025-03-19T23:08:03.754" v="1728" actId="47"/>
        <pc:sldMkLst>
          <pc:docMk/>
          <pc:sldMk cId="2930060632" sldId="2147483394"/>
        </pc:sldMkLst>
      </pc:sldChg>
      <pc:sldChg chg="addSp delSp modSp add mod">
        <pc:chgData name="Munarriz Herrador Iñaki" userId="11637121-8aee-420b-9db7-54651cb06796" providerId="ADAL" clId="{028FF6F6-5B42-4493-A926-90FAA58B796E}" dt="2025-03-20T09:27:43.160" v="3789" actId="1035"/>
        <pc:sldMkLst>
          <pc:docMk/>
          <pc:sldMk cId="2649532606" sldId="2147483395"/>
        </pc:sldMkLst>
      </pc:sldChg>
      <pc:sldChg chg="addSp delSp modSp add del mod">
        <pc:chgData name="Munarriz Herrador Iñaki" userId="11637121-8aee-420b-9db7-54651cb06796" providerId="ADAL" clId="{028FF6F6-5B42-4493-A926-90FAA58B796E}" dt="2025-03-19T23:15:18.249" v="1855" actId="47"/>
        <pc:sldMkLst>
          <pc:docMk/>
          <pc:sldMk cId="40341960" sldId="2147483396"/>
        </pc:sldMkLst>
      </pc:sldChg>
      <pc:sldChg chg="addSp delSp modSp add mod">
        <pc:chgData name="Munarriz Herrador Iñaki" userId="11637121-8aee-420b-9db7-54651cb06796" providerId="ADAL" clId="{028FF6F6-5B42-4493-A926-90FAA58B796E}" dt="2025-03-20T07:59:42.119" v="1947" actId="20577"/>
        <pc:sldMkLst>
          <pc:docMk/>
          <pc:sldMk cId="4055449794" sldId="2147483397"/>
        </pc:sldMkLst>
      </pc:sldChg>
      <pc:sldChg chg="addSp delSp modSp add mod">
        <pc:chgData name="Munarriz Herrador Iñaki" userId="11637121-8aee-420b-9db7-54651cb06796" providerId="ADAL" clId="{028FF6F6-5B42-4493-A926-90FAA58B796E}" dt="2025-03-20T07:59:46.673" v="1950" actId="20577"/>
        <pc:sldMkLst>
          <pc:docMk/>
          <pc:sldMk cId="2877243688" sldId="2147483398"/>
        </pc:sldMkLst>
      </pc:sldChg>
      <pc:sldChg chg="addSp delSp modSp add mod">
        <pc:chgData name="Munarriz Herrador Iñaki" userId="11637121-8aee-420b-9db7-54651cb06796" providerId="ADAL" clId="{028FF6F6-5B42-4493-A926-90FAA58B796E}" dt="2025-03-20T07:59:50.219" v="1953" actId="20577"/>
        <pc:sldMkLst>
          <pc:docMk/>
          <pc:sldMk cId="3820138667" sldId="2147483399"/>
        </pc:sldMkLst>
      </pc:sldChg>
      <pc:sldChg chg="delSp modSp add del mod ord">
        <pc:chgData name="Munarriz Herrador Iñaki" userId="11637121-8aee-420b-9db7-54651cb06796" providerId="ADAL" clId="{028FF6F6-5B42-4493-A926-90FAA58B796E}" dt="2025-03-20T07:57:41.723" v="1869" actId="47"/>
        <pc:sldMkLst>
          <pc:docMk/>
          <pc:sldMk cId="202366616" sldId="2147483400"/>
        </pc:sldMkLst>
      </pc:sldChg>
      <pc:sldChg chg="add del">
        <pc:chgData name="Munarriz Herrador Iñaki" userId="11637121-8aee-420b-9db7-54651cb06796" providerId="ADAL" clId="{028FF6F6-5B42-4493-A926-90FAA58B796E}" dt="2025-03-20T09:03:08.490" v="3293" actId="47"/>
        <pc:sldMkLst>
          <pc:docMk/>
          <pc:sldMk cId="3151205359" sldId="2147483400"/>
        </pc:sldMkLst>
      </pc:sldChg>
      <pc:sldChg chg="add ord">
        <pc:chgData name="Munarriz Herrador Iñaki" userId="11637121-8aee-420b-9db7-54651cb06796" providerId="ADAL" clId="{028FF6F6-5B42-4493-A926-90FAA58B796E}" dt="2025-03-20T14:51:52.641" v="3792"/>
        <pc:sldMkLst>
          <pc:docMk/>
          <pc:sldMk cId="3328959841" sldId="2147483400"/>
        </pc:sldMkLst>
      </pc:sldChg>
    </pc:docChg>
  </pc:docChgLst>
  <pc:docChgLst>
    <pc:chgData name="Munarriz Herrador Iñaki" userId="11637121-8aee-420b-9db7-54651cb06796" providerId="ADAL" clId="{D346BDBC-FFFB-46A0-8E64-975E5FEF44DF}"/>
    <pc:docChg chg="undo redo custSel addSld delSld modSld sldOrd modSection">
      <pc:chgData name="Munarriz Herrador Iñaki" userId="11637121-8aee-420b-9db7-54651cb06796" providerId="ADAL" clId="{D346BDBC-FFFB-46A0-8E64-975E5FEF44DF}" dt="2025-06-17T15:59:51.871" v="2484" actId="1035"/>
      <pc:docMkLst>
        <pc:docMk/>
      </pc:docMkLst>
      <pc:sldChg chg="modSp mod">
        <pc:chgData name="Munarriz Herrador Iñaki" userId="11637121-8aee-420b-9db7-54651cb06796" providerId="ADAL" clId="{D346BDBC-FFFB-46A0-8E64-975E5FEF44DF}" dt="2025-06-15T06:23:16.734" v="31" actId="20577"/>
        <pc:sldMkLst>
          <pc:docMk/>
          <pc:sldMk cId="0" sldId="2147483315"/>
        </pc:sldMkLst>
        <pc:spChg chg="mod">
          <ac:chgData name="Munarriz Herrador Iñaki" userId="11637121-8aee-420b-9db7-54651cb06796" providerId="ADAL" clId="{D346BDBC-FFFB-46A0-8E64-975E5FEF44DF}" dt="2025-06-15T06:23:16.734" v="31" actId="20577"/>
          <ac:spMkLst>
            <pc:docMk/>
            <pc:sldMk cId="0" sldId="2147483315"/>
            <ac:spMk id="6" creationId="{00000000-0000-0000-0000-000000000000}"/>
          </ac:spMkLst>
        </pc:spChg>
        <pc:spChg chg="mod">
          <ac:chgData name="Munarriz Herrador Iñaki" userId="11637121-8aee-420b-9db7-54651cb06796" providerId="ADAL" clId="{D346BDBC-FFFB-46A0-8E64-975E5FEF44DF}" dt="2025-06-15T06:23:04.532" v="21" actId="20577"/>
          <ac:spMkLst>
            <pc:docMk/>
            <pc:sldMk cId="0" sldId="2147483315"/>
            <ac:spMk id="11" creationId="{D2ABA22D-F23D-20AB-0DA8-B06D42BD659D}"/>
          </ac:spMkLst>
        </pc:spChg>
      </pc:sldChg>
      <pc:sldChg chg="modSp mod">
        <pc:chgData name="Munarriz Herrador Iñaki" userId="11637121-8aee-420b-9db7-54651cb06796" providerId="ADAL" clId="{D346BDBC-FFFB-46A0-8E64-975E5FEF44DF}" dt="2025-06-17T11:29:31.957" v="1880" actId="207"/>
        <pc:sldMkLst>
          <pc:docMk/>
          <pc:sldMk cId="88093545" sldId="2147483372"/>
        </pc:sldMkLst>
        <pc:spChg chg="mod">
          <ac:chgData name="Munarriz Herrador Iñaki" userId="11637121-8aee-420b-9db7-54651cb06796" providerId="ADAL" clId="{D346BDBC-FFFB-46A0-8E64-975E5FEF44DF}" dt="2025-06-17T11:29:31.957" v="1880" actId="207"/>
          <ac:spMkLst>
            <pc:docMk/>
            <pc:sldMk cId="88093545" sldId="2147483372"/>
            <ac:spMk id="8" creationId="{B653FEEB-5B1B-5220-1426-D789485673FE}"/>
          </ac:spMkLst>
        </pc:spChg>
      </pc:sldChg>
      <pc:sldChg chg="addSp delSp modSp mod">
        <pc:chgData name="Munarriz Herrador Iñaki" userId="11637121-8aee-420b-9db7-54651cb06796" providerId="ADAL" clId="{D346BDBC-FFFB-46A0-8E64-975E5FEF44DF}" dt="2025-06-16T05:54:11.001" v="1569" actId="20577"/>
        <pc:sldMkLst>
          <pc:docMk/>
          <pc:sldMk cId="1243781170" sldId="2147483373"/>
        </pc:sldMkLst>
        <pc:spChg chg="mod">
          <ac:chgData name="Munarriz Herrador Iñaki" userId="11637121-8aee-420b-9db7-54651cb06796" providerId="ADAL" clId="{D346BDBC-FFFB-46A0-8E64-975E5FEF44DF}" dt="2025-06-16T05:54:11.001" v="1569" actId="20577"/>
          <ac:spMkLst>
            <pc:docMk/>
            <pc:sldMk cId="1243781170" sldId="2147483373"/>
            <ac:spMk id="2" creationId="{0D0F0FBB-CF31-7258-D6B3-FD3CCD13F048}"/>
          </ac:spMkLst>
        </pc:spChg>
        <pc:spChg chg="add del mod ord topLvl">
          <ac:chgData name="Munarriz Herrador Iñaki" userId="11637121-8aee-420b-9db7-54651cb06796" providerId="ADAL" clId="{D346BDBC-FFFB-46A0-8E64-975E5FEF44DF}" dt="2025-06-15T21:09:26.042" v="393" actId="164"/>
          <ac:spMkLst>
            <pc:docMk/>
            <pc:sldMk cId="1243781170" sldId="2147483373"/>
            <ac:spMk id="11" creationId="{5BB125DB-F813-949A-99A7-A9A6AC44B387}"/>
          </ac:spMkLst>
        </pc:spChg>
        <pc:spChg chg="mod topLvl">
          <ac:chgData name="Munarriz Herrador Iñaki" userId="11637121-8aee-420b-9db7-54651cb06796" providerId="ADAL" clId="{D346BDBC-FFFB-46A0-8E64-975E5FEF44DF}" dt="2025-06-15T21:09:26.042" v="393" actId="164"/>
          <ac:spMkLst>
            <pc:docMk/>
            <pc:sldMk cId="1243781170" sldId="2147483373"/>
            <ac:spMk id="14" creationId="{E3CF0BD5-F2D8-4DDE-B1A9-1CBB336FB670}"/>
          </ac:spMkLst>
        </pc:spChg>
        <pc:spChg chg="add mod topLvl">
          <ac:chgData name="Munarriz Herrador Iñaki" userId="11637121-8aee-420b-9db7-54651cb06796" providerId="ADAL" clId="{D346BDBC-FFFB-46A0-8E64-975E5FEF44DF}" dt="2025-06-15T21:09:26.042" v="393" actId="164"/>
          <ac:spMkLst>
            <pc:docMk/>
            <pc:sldMk cId="1243781170" sldId="2147483373"/>
            <ac:spMk id="16" creationId="{4FEB89AF-6493-CA4A-A375-523CA0F523C1}"/>
          </ac:spMkLst>
        </pc:spChg>
        <pc:spChg chg="add mod">
          <ac:chgData name="Munarriz Herrador Iñaki" userId="11637121-8aee-420b-9db7-54651cb06796" providerId="ADAL" clId="{D346BDBC-FFFB-46A0-8E64-975E5FEF44DF}" dt="2025-06-15T21:09:29.818" v="394" actId="164"/>
          <ac:spMkLst>
            <pc:docMk/>
            <pc:sldMk cId="1243781170" sldId="2147483373"/>
            <ac:spMk id="17" creationId="{E489FA0E-5146-4715-B5C6-F21415523D81}"/>
          </ac:spMkLst>
        </pc:spChg>
        <pc:spChg chg="add mod topLvl">
          <ac:chgData name="Munarriz Herrador Iñaki" userId="11637121-8aee-420b-9db7-54651cb06796" providerId="ADAL" clId="{D346BDBC-FFFB-46A0-8E64-975E5FEF44DF}" dt="2025-06-15T21:09:26.042" v="393" actId="164"/>
          <ac:spMkLst>
            <pc:docMk/>
            <pc:sldMk cId="1243781170" sldId="2147483373"/>
            <ac:spMk id="25" creationId="{3DC411D3-02E6-2C49-577E-431E3D1FF260}"/>
          </ac:spMkLst>
        </pc:spChg>
        <pc:spChg chg="add mod">
          <ac:chgData name="Munarriz Herrador Iñaki" userId="11637121-8aee-420b-9db7-54651cb06796" providerId="ADAL" clId="{D346BDBC-FFFB-46A0-8E64-975E5FEF44DF}" dt="2025-06-15T21:09:29.818" v="394" actId="164"/>
          <ac:spMkLst>
            <pc:docMk/>
            <pc:sldMk cId="1243781170" sldId="2147483373"/>
            <ac:spMk id="27" creationId="{A18CB189-6B2F-FF05-C878-C05BFBA1E48F}"/>
          </ac:spMkLst>
        </pc:spChg>
        <pc:spChg chg="add mod">
          <ac:chgData name="Munarriz Herrador Iñaki" userId="11637121-8aee-420b-9db7-54651cb06796" providerId="ADAL" clId="{D346BDBC-FFFB-46A0-8E64-975E5FEF44DF}" dt="2025-06-15T21:09:29.818" v="394" actId="164"/>
          <ac:spMkLst>
            <pc:docMk/>
            <pc:sldMk cId="1243781170" sldId="2147483373"/>
            <ac:spMk id="28" creationId="{6DC94D33-0540-8411-9AFF-BC554570FD22}"/>
          </ac:spMkLst>
        </pc:spChg>
        <pc:spChg chg="mod">
          <ac:chgData name="Munarriz Herrador Iñaki" userId="11637121-8aee-420b-9db7-54651cb06796" providerId="ADAL" clId="{D346BDBC-FFFB-46A0-8E64-975E5FEF44DF}" dt="2025-06-15T21:12:32.571" v="630" actId="20577"/>
          <ac:spMkLst>
            <pc:docMk/>
            <pc:sldMk cId="1243781170" sldId="2147483373"/>
            <ac:spMk id="38" creationId="{691FDFAE-1869-C9D8-593E-52E54B8D9BA8}"/>
          </ac:spMkLst>
        </pc:spChg>
        <pc:spChg chg="mod">
          <ac:chgData name="Munarriz Herrador Iñaki" userId="11637121-8aee-420b-9db7-54651cb06796" providerId="ADAL" clId="{D346BDBC-FFFB-46A0-8E64-975E5FEF44DF}" dt="2025-06-15T21:12:46.328" v="632" actId="20577"/>
          <ac:spMkLst>
            <pc:docMk/>
            <pc:sldMk cId="1243781170" sldId="2147483373"/>
            <ac:spMk id="39" creationId="{CC4DDFF4-761D-995B-6DF0-1E7532E18886}"/>
          </ac:spMkLst>
        </pc:spChg>
        <pc:spChg chg="mod">
          <ac:chgData name="Munarriz Herrador Iñaki" userId="11637121-8aee-420b-9db7-54651cb06796" providerId="ADAL" clId="{D346BDBC-FFFB-46A0-8E64-975E5FEF44DF}" dt="2025-06-15T21:09:41.688" v="398"/>
          <ac:spMkLst>
            <pc:docMk/>
            <pc:sldMk cId="1243781170" sldId="2147483373"/>
            <ac:spMk id="41" creationId="{1D17B2A6-1FC3-8256-10F3-3AFCA2296B20}"/>
          </ac:spMkLst>
        </pc:spChg>
        <pc:spChg chg="mod">
          <ac:chgData name="Munarriz Herrador Iñaki" userId="11637121-8aee-420b-9db7-54651cb06796" providerId="ADAL" clId="{D346BDBC-FFFB-46A0-8E64-975E5FEF44DF}" dt="2025-06-15T21:13:01.589" v="635" actId="20577"/>
          <ac:spMkLst>
            <pc:docMk/>
            <pc:sldMk cId="1243781170" sldId="2147483373"/>
            <ac:spMk id="42" creationId="{9320906B-9399-F7D8-A216-3D8FA59FFFD9}"/>
          </ac:spMkLst>
        </pc:spChg>
        <pc:spChg chg="mod ord">
          <ac:chgData name="Munarriz Herrador Iñaki" userId="11637121-8aee-420b-9db7-54651cb06796" providerId="ADAL" clId="{D346BDBC-FFFB-46A0-8E64-975E5FEF44DF}" dt="2025-06-15T21:12:06.315" v="626" actId="20577"/>
          <ac:spMkLst>
            <pc:docMk/>
            <pc:sldMk cId="1243781170" sldId="2147483373"/>
            <ac:spMk id="44" creationId="{9947456F-95BE-E86D-DF69-B445F45E839E}"/>
          </ac:spMkLst>
        </pc:spChg>
        <pc:spChg chg="mod">
          <ac:chgData name="Munarriz Herrador Iñaki" userId="11637121-8aee-420b-9db7-54651cb06796" providerId="ADAL" clId="{D346BDBC-FFFB-46A0-8E64-975E5FEF44DF}" dt="2025-06-15T21:11:58.775" v="624" actId="14100"/>
          <ac:spMkLst>
            <pc:docMk/>
            <pc:sldMk cId="1243781170" sldId="2147483373"/>
            <ac:spMk id="45" creationId="{F10211DB-E9CE-756B-FFAA-2E035271535F}"/>
          </ac:spMkLst>
        </pc:spChg>
        <pc:spChg chg="mod">
          <ac:chgData name="Munarriz Herrador Iñaki" userId="11637121-8aee-420b-9db7-54651cb06796" providerId="ADAL" clId="{D346BDBC-FFFB-46A0-8E64-975E5FEF44DF}" dt="2025-06-15T21:11:19.771" v="619"/>
          <ac:spMkLst>
            <pc:docMk/>
            <pc:sldMk cId="1243781170" sldId="2147483373"/>
            <ac:spMk id="46" creationId="{2911DFDA-7CBF-CE55-8527-50CF72078341}"/>
          </ac:spMkLst>
        </pc:spChg>
        <pc:grpChg chg="add mod">
          <ac:chgData name="Munarriz Herrador Iñaki" userId="11637121-8aee-420b-9db7-54651cb06796" providerId="ADAL" clId="{D346BDBC-FFFB-46A0-8E64-975E5FEF44DF}" dt="2025-06-15T21:11:36.184" v="621" actId="14100"/>
          <ac:grpSpMkLst>
            <pc:docMk/>
            <pc:sldMk cId="1243781170" sldId="2147483373"/>
            <ac:grpSpMk id="43" creationId="{64ED50A7-AB2A-7F01-F5AB-15829F2C15D0}"/>
          </ac:grpSpMkLst>
        </pc:grpChg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818866366" sldId="214748337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033939552" sldId="2147483388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937404720" sldId="214748338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538967907" sldId="2147483390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900280720" sldId="2147483391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649532606" sldId="2147483395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4055449794" sldId="2147483397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2877243688" sldId="2147483398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820138667" sldId="2147483399"/>
        </pc:sldMkLst>
      </pc:sldChg>
      <pc:sldChg chg="del">
        <pc:chgData name="Munarriz Herrador Iñaki" userId="11637121-8aee-420b-9db7-54651cb06796" providerId="ADAL" clId="{D346BDBC-FFFB-46A0-8E64-975E5FEF44DF}" dt="2025-06-15T22:08:02.973" v="1285" actId="47"/>
        <pc:sldMkLst>
          <pc:docMk/>
          <pc:sldMk cId="3328959841" sldId="2147483400"/>
        </pc:sldMkLst>
      </pc:sldChg>
      <pc:sldChg chg="addSp delSp modSp add mod">
        <pc:chgData name="Munarriz Herrador Iñaki" userId="11637121-8aee-420b-9db7-54651cb06796" providerId="ADAL" clId="{D346BDBC-FFFB-46A0-8E64-975E5FEF44DF}" dt="2025-06-16T05:54:14.810" v="1571" actId="20577"/>
        <pc:sldMkLst>
          <pc:docMk/>
          <pc:sldMk cId="2085739677" sldId="2147483401"/>
        </pc:sldMkLst>
      </pc:sldChg>
      <pc:sldChg chg="addSp delSp modSp add mod">
        <pc:chgData name="Munarriz Herrador Iñaki" userId="11637121-8aee-420b-9db7-54651cb06796" providerId="ADAL" clId="{D346BDBC-FFFB-46A0-8E64-975E5FEF44DF}" dt="2025-06-16T05:54:18.735" v="1573" actId="20577"/>
        <pc:sldMkLst>
          <pc:docMk/>
          <pc:sldMk cId="2425737149" sldId="2147483402"/>
        </pc:sldMkLst>
      </pc:sldChg>
      <pc:sldChg chg="addSp delSp modSp add mod">
        <pc:chgData name="Munarriz Herrador Iñaki" userId="11637121-8aee-420b-9db7-54651cb06796" providerId="ADAL" clId="{D346BDBC-FFFB-46A0-8E64-975E5FEF44DF}" dt="2025-06-16T05:54:23.361" v="1575" actId="20577"/>
        <pc:sldMkLst>
          <pc:docMk/>
          <pc:sldMk cId="2876304681" sldId="2147483403"/>
        </pc:sldMkLst>
      </pc:sldChg>
      <pc:sldChg chg="addSp delSp modSp add mod">
        <pc:chgData name="Munarriz Herrador Iñaki" userId="11637121-8aee-420b-9db7-54651cb06796" providerId="ADAL" clId="{D346BDBC-FFFB-46A0-8E64-975E5FEF44DF}" dt="2025-06-16T05:54:27.640" v="1577" actId="20577"/>
        <pc:sldMkLst>
          <pc:docMk/>
          <pc:sldMk cId="1567361310" sldId="2147483404"/>
        </pc:sldMkLst>
      </pc:sldChg>
      <pc:sldChg chg="addSp delSp modSp add mod">
        <pc:chgData name="Munarriz Herrador Iñaki" userId="11637121-8aee-420b-9db7-54651cb06796" providerId="ADAL" clId="{D346BDBC-FFFB-46A0-8E64-975E5FEF44DF}" dt="2025-06-16T05:54:35.051" v="1579" actId="20577"/>
        <pc:sldMkLst>
          <pc:docMk/>
          <pc:sldMk cId="559595493" sldId="2147483405"/>
        </pc:sldMkLst>
      </pc:sldChg>
      <pc:sldChg chg="addSp delSp modSp add mod">
        <pc:chgData name="Munarriz Herrador Iñaki" userId="11637121-8aee-420b-9db7-54651cb06796" providerId="ADAL" clId="{D346BDBC-FFFB-46A0-8E64-975E5FEF44DF}" dt="2025-06-16T05:54:39.633" v="1581" actId="20577"/>
        <pc:sldMkLst>
          <pc:docMk/>
          <pc:sldMk cId="1724892760" sldId="2147483406"/>
        </pc:sldMkLst>
      </pc:sldChg>
      <pc:sldChg chg="addSp delSp modSp add mod">
        <pc:chgData name="Munarriz Herrador Iñaki" userId="11637121-8aee-420b-9db7-54651cb06796" providerId="ADAL" clId="{D346BDBC-FFFB-46A0-8E64-975E5FEF44DF}" dt="2025-06-16T05:54:43.468" v="1583" actId="20577"/>
        <pc:sldMkLst>
          <pc:docMk/>
          <pc:sldMk cId="3545608862" sldId="2147483407"/>
        </pc:sldMkLst>
      </pc:sldChg>
      <pc:sldChg chg="addSp delSp modSp add mod">
        <pc:chgData name="Munarriz Herrador Iñaki" userId="11637121-8aee-420b-9db7-54651cb06796" providerId="ADAL" clId="{D346BDBC-FFFB-46A0-8E64-975E5FEF44DF}" dt="2025-06-16T05:54:47.921" v="1585" actId="20577"/>
        <pc:sldMkLst>
          <pc:docMk/>
          <pc:sldMk cId="624714175" sldId="2147483408"/>
        </pc:sldMkLst>
      </pc:sldChg>
      <pc:sldChg chg="addSp delSp modSp add mod ord">
        <pc:chgData name="Munarriz Herrador Iñaki" userId="11637121-8aee-420b-9db7-54651cb06796" providerId="ADAL" clId="{D346BDBC-FFFB-46A0-8E64-975E5FEF44DF}" dt="2025-06-17T11:28:15.589" v="1848" actId="20577"/>
        <pc:sldMkLst>
          <pc:docMk/>
          <pc:sldMk cId="2428685999" sldId="2147483409"/>
        </pc:sldMkLst>
      </pc:sldChg>
      <pc:sldChg chg="addSp delSp modSp add mod">
        <pc:chgData name="Munarriz Herrador Iñaki" userId="11637121-8aee-420b-9db7-54651cb06796" providerId="ADAL" clId="{D346BDBC-FFFB-46A0-8E64-975E5FEF44DF}" dt="2025-06-16T05:54:52.018" v="1587" actId="20577"/>
        <pc:sldMkLst>
          <pc:docMk/>
          <pc:sldMk cId="792640642" sldId="2147483410"/>
        </pc:sldMkLst>
      </pc:sldChg>
      <pc:sldChg chg="modSp add del mod">
        <pc:chgData name="Munarriz Herrador Iñaki" userId="11637121-8aee-420b-9db7-54651cb06796" providerId="ADAL" clId="{D346BDBC-FFFB-46A0-8E64-975E5FEF44DF}" dt="2025-06-15T22:41:15.340" v="1547" actId="47"/>
        <pc:sldMkLst>
          <pc:docMk/>
          <pc:sldMk cId="3135902622" sldId="2147483411"/>
        </pc:sldMkLst>
      </pc:sldChg>
      <pc:sldChg chg="addSp modSp add mod">
        <pc:chgData name="Munarriz Herrador Iñaki" userId="11637121-8aee-420b-9db7-54651cb06796" providerId="ADAL" clId="{D346BDBC-FFFB-46A0-8E64-975E5FEF44DF}" dt="2025-06-16T14:49:20.895" v="1756" actId="20577"/>
        <pc:sldMkLst>
          <pc:docMk/>
          <pc:sldMk cId="2680299840" sldId="2147483412"/>
        </pc:sldMkLst>
      </pc:sldChg>
      <pc:sldChg chg="modSp add del mod">
        <pc:chgData name="Munarriz Herrador Iñaki" userId="11637121-8aee-420b-9db7-54651cb06796" providerId="ADAL" clId="{D346BDBC-FFFB-46A0-8E64-975E5FEF44DF}" dt="2025-06-15T22:36:06.170" v="1533" actId="47"/>
        <pc:sldMkLst>
          <pc:docMk/>
          <pc:sldMk cId="774817878" sldId="2147483413"/>
        </pc:sldMkLst>
      </pc:sldChg>
      <pc:sldChg chg="addSp modSp add mod">
        <pc:chgData name="Munarriz Herrador Iñaki" userId="11637121-8aee-420b-9db7-54651cb06796" providerId="ADAL" clId="{D346BDBC-FFFB-46A0-8E64-975E5FEF44DF}" dt="2025-06-16T05:55:02.034" v="1591" actId="20577"/>
        <pc:sldMkLst>
          <pc:docMk/>
          <pc:sldMk cId="1307132154" sldId="2147483414"/>
        </pc:sldMkLst>
      </pc:sldChg>
      <pc:sldChg chg="delSp modSp add mod">
        <pc:chgData name="Munarriz Herrador Iñaki" userId="11637121-8aee-420b-9db7-54651cb06796" providerId="ADAL" clId="{D346BDBC-FFFB-46A0-8E64-975E5FEF44DF}" dt="2025-06-17T11:28:46.888" v="1865" actId="20577"/>
        <pc:sldMkLst>
          <pc:docMk/>
          <pc:sldMk cId="17658299" sldId="2147483415"/>
        </pc:sldMkLst>
      </pc:sldChg>
      <pc:sldChg chg="addSp delSp modSp add mod">
        <pc:chgData name="Munarriz Herrador Iñaki" userId="11637121-8aee-420b-9db7-54651cb06796" providerId="ADAL" clId="{D346BDBC-FFFB-46A0-8E64-975E5FEF44DF}" dt="2025-06-17T15:59:30.453" v="2425" actId="1036"/>
        <pc:sldMkLst>
          <pc:docMk/>
          <pc:sldMk cId="2523228152" sldId="2147483416"/>
        </pc:sldMkLst>
      </pc:sldChg>
      <pc:sldChg chg="addSp delSp modSp add mod">
        <pc:chgData name="Munarriz Herrador Iñaki" userId="11637121-8aee-420b-9db7-54651cb06796" providerId="ADAL" clId="{D346BDBC-FFFB-46A0-8E64-975E5FEF44DF}" dt="2025-06-17T15:59:51.871" v="2484" actId="1035"/>
        <pc:sldMkLst>
          <pc:docMk/>
          <pc:sldMk cId="3043515397" sldId="2147483417"/>
        </pc:sldMkLst>
      </pc:sldChg>
    </pc:docChg>
  </pc:docChgLst>
  <pc:docChgLst>
    <pc:chgData name="Munarriz Herrador Iñaki" userId="11637121-8aee-420b-9db7-54651cb06796" providerId="ADAL" clId="{3350B887-55C5-4C6D-9AD1-3AB555665C94}"/>
    <pc:docChg chg="custSel addSld modSld modSection">
      <pc:chgData name="Munarriz Herrador Iñaki" userId="11637121-8aee-420b-9db7-54651cb06796" providerId="ADAL" clId="{3350B887-55C5-4C6D-9AD1-3AB555665C94}" dt="2025-02-17T16:15:04.320" v="46" actId="14100"/>
      <pc:docMkLst>
        <pc:docMk/>
      </pc:docMkLst>
      <pc:sldChg chg="modSp mod">
        <pc:chgData name="Munarriz Herrador Iñaki" userId="11637121-8aee-420b-9db7-54651cb06796" providerId="ADAL" clId="{3350B887-55C5-4C6D-9AD1-3AB555665C94}" dt="2025-02-17T12:01:58.688" v="39" actId="20577"/>
        <pc:sldMkLst>
          <pc:docMk/>
          <pc:sldMk cId="0" sldId="2147483315"/>
        </pc:sldMkLst>
      </pc:sldChg>
      <pc:sldChg chg="addSp delSp modSp add mod">
        <pc:chgData name="Munarriz Herrador Iñaki" userId="11637121-8aee-420b-9db7-54651cb06796" providerId="ADAL" clId="{3350B887-55C5-4C6D-9AD1-3AB555665C94}" dt="2025-02-17T16:15:04.320" v="46" actId="14100"/>
        <pc:sldMkLst>
          <pc:docMk/>
          <pc:sldMk cId="3033939552" sldId="2147483388"/>
        </pc:sldMkLst>
      </pc:sldChg>
    </pc:docChg>
  </pc:docChgLst>
  <pc:docChgLst>
    <pc:chgData name="Munarriz Herrador Iñaki" userId="11637121-8aee-420b-9db7-54651cb06796" providerId="ADAL" clId="{C050DCA4-94CC-4AE4-AC4D-7DC423C906C0}"/>
    <pc:docChg chg="undo redo custSel addSld delSld modSld sldOrd modSection">
      <pc:chgData name="Munarriz Herrador Iñaki" userId="11637121-8aee-420b-9db7-54651cb06796" providerId="ADAL" clId="{C050DCA4-94CC-4AE4-AC4D-7DC423C906C0}" dt="2025-03-19T10:07:35.318" v="10650" actId="1076"/>
      <pc:docMkLst>
        <pc:docMk/>
      </pc:docMkLst>
      <pc:sldChg chg="modSp mod">
        <pc:chgData name="Munarriz Herrador Iñaki" userId="11637121-8aee-420b-9db7-54651cb06796" providerId="ADAL" clId="{C050DCA4-94CC-4AE4-AC4D-7DC423C906C0}" dt="2025-02-21T11:11:57.009" v="95" actId="20577"/>
        <pc:sldMkLst>
          <pc:docMk/>
          <pc:sldMk cId="0" sldId="2147483315"/>
        </pc:sldMkLst>
      </pc:sldChg>
      <pc:sldChg chg="del">
        <pc:chgData name="Munarriz Herrador Iñaki" userId="11637121-8aee-420b-9db7-54651cb06796" providerId="ADAL" clId="{C050DCA4-94CC-4AE4-AC4D-7DC423C906C0}" dt="2025-02-26T16:30:21.688" v="6965" actId="47"/>
        <pc:sldMkLst>
          <pc:docMk/>
          <pc:sldMk cId="88093545" sldId="2147483372"/>
        </pc:sldMkLst>
      </pc:sldChg>
      <pc:sldChg chg="addSp delSp modSp mod">
        <pc:chgData name="Munarriz Herrador Iñaki" userId="11637121-8aee-420b-9db7-54651cb06796" providerId="ADAL" clId="{C050DCA4-94CC-4AE4-AC4D-7DC423C906C0}" dt="2025-03-19T10:07:35.318" v="10650" actId="1076"/>
        <pc:sldMkLst>
          <pc:docMk/>
          <pc:sldMk cId="1243781170" sldId="2147483373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3267060004" sldId="2147483374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61861682" sldId="2147483375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3116799561" sldId="2147483378"/>
        </pc:sldMkLst>
      </pc:sldChg>
      <pc:sldChg chg="addSp delSp modSp mod ord">
        <pc:chgData name="Munarriz Herrador Iñaki" userId="11637121-8aee-420b-9db7-54651cb06796" providerId="ADAL" clId="{C050DCA4-94CC-4AE4-AC4D-7DC423C906C0}" dt="2025-02-27T16:42:15.002" v="10184" actId="14100"/>
        <pc:sldMkLst>
          <pc:docMk/>
          <pc:sldMk cId="2818866366" sldId="2147483379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837213026" sldId="2147483380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100245951" sldId="2147483384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2201393827" sldId="2147483386"/>
        </pc:sldMkLst>
      </pc:sldChg>
      <pc:sldChg chg="del">
        <pc:chgData name="Munarriz Herrador Iñaki" userId="11637121-8aee-420b-9db7-54651cb06796" providerId="ADAL" clId="{C050DCA4-94CC-4AE4-AC4D-7DC423C906C0}" dt="2025-02-26T16:30:36.174" v="6966" actId="47"/>
        <pc:sldMkLst>
          <pc:docMk/>
          <pc:sldMk cId="1177571145" sldId="2147483387"/>
        </pc:sldMkLst>
      </pc:sldChg>
      <pc:sldChg chg="addSp delSp modSp mod ord">
        <pc:chgData name="Munarriz Herrador Iñaki" userId="11637121-8aee-420b-9db7-54651cb06796" providerId="ADAL" clId="{C050DCA4-94CC-4AE4-AC4D-7DC423C906C0}" dt="2025-02-27T16:53:47.082" v="10556" actId="12789"/>
        <pc:sldMkLst>
          <pc:docMk/>
          <pc:sldMk cId="3033939552" sldId="2147483388"/>
        </pc:sldMkLst>
      </pc:sldChg>
      <pc:sldChg chg="addSp delSp modSp add mod">
        <pc:chgData name="Munarriz Herrador Iñaki" userId="11637121-8aee-420b-9db7-54651cb06796" providerId="ADAL" clId="{C050DCA4-94CC-4AE4-AC4D-7DC423C906C0}" dt="2025-02-27T15:59:41.673" v="9334" actId="123"/>
        <pc:sldMkLst>
          <pc:docMk/>
          <pc:sldMk cId="937404720" sldId="2147483389"/>
        </pc:sldMkLst>
      </pc:sldChg>
      <pc:sldChg chg="addSp delSp modSp add mod ord">
        <pc:chgData name="Munarriz Herrador Iñaki" userId="11637121-8aee-420b-9db7-54651cb06796" providerId="ADAL" clId="{C050DCA4-94CC-4AE4-AC4D-7DC423C906C0}" dt="2025-02-27T15:59:53.024" v="9336" actId="123"/>
        <pc:sldMkLst>
          <pc:docMk/>
          <pc:sldMk cId="538967907" sldId="2147483390"/>
        </pc:sldMkLst>
      </pc:sldChg>
      <pc:sldChg chg="addSp delSp modSp add mod">
        <pc:chgData name="Munarriz Herrador Iñaki" userId="11637121-8aee-420b-9db7-54651cb06796" providerId="ADAL" clId="{C050DCA4-94CC-4AE4-AC4D-7DC423C906C0}" dt="2025-02-27T15:59:45.894" v="9335" actId="123"/>
        <pc:sldMkLst>
          <pc:docMk/>
          <pc:sldMk cId="2900280720" sldId="2147483391"/>
        </pc:sldMkLst>
      </pc:sldChg>
      <pc:sldChg chg="addSp delSp modSp add mod">
        <pc:chgData name="Munarriz Herrador Iñaki" userId="11637121-8aee-420b-9db7-54651cb06796" providerId="ADAL" clId="{C050DCA4-94CC-4AE4-AC4D-7DC423C906C0}" dt="2025-02-27T15:59:32.666" v="9332" actId="123"/>
        <pc:sldMkLst>
          <pc:docMk/>
          <pc:sldMk cId="2732855569" sldId="2147483392"/>
        </pc:sldMkLst>
      </pc:sldChg>
      <pc:sldChg chg="addSp delSp modSp add mod">
        <pc:chgData name="Munarriz Herrador Iñaki" userId="11637121-8aee-420b-9db7-54651cb06796" providerId="ADAL" clId="{C050DCA4-94CC-4AE4-AC4D-7DC423C906C0}" dt="2025-02-27T16:21:15.418" v="9598" actId="1035"/>
        <pc:sldMkLst>
          <pc:docMk/>
          <pc:sldMk cId="45361350" sldId="2147483393"/>
        </pc:sldMkLst>
      </pc:sldChg>
      <pc:sldChg chg="add">
        <pc:chgData name="Munarriz Herrador Iñaki" userId="11637121-8aee-420b-9db7-54651cb06796" providerId="ADAL" clId="{C050DCA4-94CC-4AE4-AC4D-7DC423C906C0}" dt="2025-03-19T10:06:38.905" v="10557" actId="2890"/>
        <pc:sldMkLst>
          <pc:docMk/>
          <pc:sldMk cId="2930060632" sldId="2147483394"/>
        </pc:sldMkLst>
      </pc:sldChg>
      <pc:sldMasterChg chg="delSldLayout">
        <pc:chgData name="Munarriz Herrador Iñaki" userId="11637121-8aee-420b-9db7-54651cb06796" providerId="ADAL" clId="{C050DCA4-94CC-4AE4-AC4D-7DC423C906C0}" dt="2025-02-26T16:30:21.688" v="6965" actId="47"/>
        <pc:sldMasterMkLst>
          <pc:docMk/>
          <pc:sldMasterMk cId="3682351262" sldId="2147483732"/>
        </pc:sldMasterMkLst>
        <pc:sldLayoutChg chg="del">
          <pc:chgData name="Munarriz Herrador Iñaki" userId="11637121-8aee-420b-9db7-54651cb06796" providerId="ADAL" clId="{C050DCA4-94CC-4AE4-AC4D-7DC423C906C0}" dt="2025-02-26T16:30:21.688" v="6965" actId="47"/>
          <pc:sldLayoutMkLst>
            <pc:docMk/>
            <pc:sldMasterMk cId="3682351262" sldId="2147483732"/>
            <pc:sldLayoutMk cId="4212811066" sldId="2147483884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D818B4-4FC7-426C-809E-B4F48F530F6E}" type="doc">
      <dgm:prSet loTypeId="urn:microsoft.com/office/officeart/2005/8/layout/chevron1" loCatId="process" qsTypeId="urn:microsoft.com/office/officeart/2005/8/quickstyle/simple1" qsCatId="simple" csTypeId="urn:microsoft.com/office/officeart/2005/8/colors/accent2_3" csCatId="accent2" phldr="1"/>
      <dgm:spPr/>
    </dgm:pt>
    <dgm:pt modelId="{E3B89146-ED26-41AE-ABE9-A8CBA0A1FE58}">
      <dgm:prSet phldrT="[Texto]" custT="1"/>
      <dgm:spPr/>
      <dgm:t>
        <a:bodyPr/>
        <a:lstStyle/>
        <a:p>
          <a:r>
            <a:rPr lang="en-US" sz="1400" b="1" noProof="0">
              <a:latin typeface="Santander Text" panose="020B0504020201020104" pitchFamily="34" charset="0"/>
            </a:rPr>
            <a:t>Input Info</a:t>
          </a:r>
        </a:p>
      </dgm:t>
    </dgm:pt>
    <dgm:pt modelId="{8EED6686-36D8-4692-A54D-77121D9A486B}" type="parTrans" cxnId="{D4BAB4FA-C9CB-4934-BFC5-2BC286C8A285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DFC1EE3F-4E8D-4C8D-A867-57AAC6C864C3}" type="sibTrans" cxnId="{D4BAB4FA-C9CB-4934-BFC5-2BC286C8A285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DB69F9E2-5E65-4863-A160-EBD2AB9D468F}">
      <dgm:prSet phldrT="[Texto]" custT="1"/>
      <dgm:spPr/>
      <dgm:t>
        <a:bodyPr/>
        <a:lstStyle/>
        <a:p>
          <a:r>
            <a:rPr lang="en-US" sz="1400" b="1" noProof="0">
              <a:latin typeface="Santander Text" panose="020B0504020201020104" pitchFamily="34" charset="0"/>
            </a:rPr>
            <a:t>Prompts + OpenAI API</a:t>
          </a:r>
        </a:p>
      </dgm:t>
    </dgm:pt>
    <dgm:pt modelId="{8824FF50-6F80-4D69-A0E0-66F9F1A8CAB9}" type="parTrans" cxnId="{6C05B2E8-394B-47D9-AAEA-CBEDBBF28AB4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F87AA65E-394F-411E-B068-E0680E554228}" type="sibTrans" cxnId="{6C05B2E8-394B-47D9-AAEA-CBEDBBF28AB4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2A458C26-90F9-475E-B0D3-A3CCD3218E4B}">
      <dgm:prSet phldrT="[Texto]" custT="1"/>
      <dgm:spPr/>
      <dgm:t>
        <a:bodyPr/>
        <a:lstStyle/>
        <a:p>
          <a:r>
            <a:rPr lang="en-US" sz="1400" b="1" noProof="0">
              <a:latin typeface="Santander Text" panose="020B0504020201020104" pitchFamily="34" charset="0"/>
            </a:rPr>
            <a:t>Data Base Upload</a:t>
          </a:r>
        </a:p>
      </dgm:t>
    </dgm:pt>
    <dgm:pt modelId="{1874CF6C-D99D-48F5-9678-E01DEE228669}" type="parTrans" cxnId="{27E25F4B-D050-4F4C-8965-1B22F119963E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F34E4EA4-54E8-4E4B-8FA0-76FAE0602BCF}" type="sibTrans" cxnId="{27E25F4B-D050-4F4C-8965-1B22F119963E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3CB0D5B1-9681-46B2-BA73-0D45E7B1A1EE}">
      <dgm:prSet phldrT="[Texto]" custT="1"/>
      <dgm:spPr/>
      <dgm:t>
        <a:bodyPr/>
        <a:lstStyle/>
        <a:p>
          <a:r>
            <a:rPr lang="en-US" sz="1400" b="1" noProof="0" dirty="0">
              <a:latin typeface="Santander Text" panose="020B0504020201020104" pitchFamily="34" charset="0"/>
            </a:rPr>
            <a:t>Reporting</a:t>
          </a:r>
        </a:p>
      </dgm:t>
    </dgm:pt>
    <dgm:pt modelId="{915FD7B1-BE6C-4B63-866A-78B23D168665}" type="parTrans" cxnId="{D7494731-C9A7-480E-811B-F2C132C2AFCA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D55150E4-FCE9-461D-9156-946F74425C32}" type="sibTrans" cxnId="{D7494731-C9A7-480E-811B-F2C132C2AFCA}">
      <dgm:prSet/>
      <dgm:spPr/>
      <dgm:t>
        <a:bodyPr/>
        <a:lstStyle/>
        <a:p>
          <a:endParaRPr lang="es-ES" sz="1400" b="1">
            <a:latin typeface="Santander Text" panose="020B0504020201020104" pitchFamily="34" charset="0"/>
          </a:endParaRPr>
        </a:p>
      </dgm:t>
    </dgm:pt>
    <dgm:pt modelId="{9651EF4E-0A0E-4638-B3C1-CEA762D37745}" type="pres">
      <dgm:prSet presAssocID="{90D818B4-4FC7-426C-809E-B4F48F530F6E}" presName="Name0" presStyleCnt="0">
        <dgm:presLayoutVars>
          <dgm:dir/>
          <dgm:animLvl val="lvl"/>
          <dgm:resizeHandles val="exact"/>
        </dgm:presLayoutVars>
      </dgm:prSet>
      <dgm:spPr/>
    </dgm:pt>
    <dgm:pt modelId="{BAAEF609-C1C0-4D9D-8499-1AFA622C75B6}" type="pres">
      <dgm:prSet presAssocID="{E3B89146-ED26-41AE-ABE9-A8CBA0A1FE5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3CD8B0E-4497-44FA-8A03-09A491CEE733}" type="pres">
      <dgm:prSet presAssocID="{DFC1EE3F-4E8D-4C8D-A867-57AAC6C864C3}" presName="parTxOnlySpace" presStyleCnt="0"/>
      <dgm:spPr/>
    </dgm:pt>
    <dgm:pt modelId="{BDAA6ECB-5FBE-44F1-A036-EC1A91C130A6}" type="pres">
      <dgm:prSet presAssocID="{DB69F9E2-5E65-4863-A160-EBD2AB9D468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3283F7B6-861A-4AB4-BED6-377A8AFD3EE4}" type="pres">
      <dgm:prSet presAssocID="{F87AA65E-394F-411E-B068-E0680E554228}" presName="parTxOnlySpace" presStyleCnt="0"/>
      <dgm:spPr/>
    </dgm:pt>
    <dgm:pt modelId="{892F87F8-53E0-47F0-893C-70334F8F932E}" type="pres">
      <dgm:prSet presAssocID="{2A458C26-90F9-475E-B0D3-A3CCD3218E4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33D03CDB-4ECC-496D-8D10-3586EB6AC37E}" type="pres">
      <dgm:prSet presAssocID="{F34E4EA4-54E8-4E4B-8FA0-76FAE0602BCF}" presName="parTxOnlySpace" presStyleCnt="0"/>
      <dgm:spPr/>
    </dgm:pt>
    <dgm:pt modelId="{6F2EB14F-26C9-4558-94E0-44977AE52815}" type="pres">
      <dgm:prSet presAssocID="{3CB0D5B1-9681-46B2-BA73-0D45E7B1A1E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D7494731-C9A7-480E-811B-F2C132C2AFCA}" srcId="{90D818B4-4FC7-426C-809E-B4F48F530F6E}" destId="{3CB0D5B1-9681-46B2-BA73-0D45E7B1A1EE}" srcOrd="3" destOrd="0" parTransId="{915FD7B1-BE6C-4B63-866A-78B23D168665}" sibTransId="{D55150E4-FCE9-461D-9156-946F74425C32}"/>
    <dgm:cxn modelId="{1F7B136B-195A-4037-AE53-B95CFA2F7FE3}" type="presOf" srcId="{3CB0D5B1-9681-46B2-BA73-0D45E7B1A1EE}" destId="{6F2EB14F-26C9-4558-94E0-44977AE52815}" srcOrd="0" destOrd="0" presId="urn:microsoft.com/office/officeart/2005/8/layout/chevron1"/>
    <dgm:cxn modelId="{27E25F4B-D050-4F4C-8965-1B22F119963E}" srcId="{90D818B4-4FC7-426C-809E-B4F48F530F6E}" destId="{2A458C26-90F9-475E-B0D3-A3CCD3218E4B}" srcOrd="2" destOrd="0" parTransId="{1874CF6C-D99D-48F5-9678-E01DEE228669}" sibTransId="{F34E4EA4-54E8-4E4B-8FA0-76FAE0602BCF}"/>
    <dgm:cxn modelId="{4FE34C70-09CE-4922-998D-6312AA94A345}" type="presOf" srcId="{90D818B4-4FC7-426C-809E-B4F48F530F6E}" destId="{9651EF4E-0A0E-4638-B3C1-CEA762D37745}" srcOrd="0" destOrd="0" presId="urn:microsoft.com/office/officeart/2005/8/layout/chevron1"/>
    <dgm:cxn modelId="{0AF6AE72-A0E4-4A49-B165-94793E452906}" type="presOf" srcId="{2A458C26-90F9-475E-B0D3-A3CCD3218E4B}" destId="{892F87F8-53E0-47F0-893C-70334F8F932E}" srcOrd="0" destOrd="0" presId="urn:microsoft.com/office/officeart/2005/8/layout/chevron1"/>
    <dgm:cxn modelId="{2934D27F-F3B7-49F9-A33B-3D2FC3B30F79}" type="presOf" srcId="{E3B89146-ED26-41AE-ABE9-A8CBA0A1FE58}" destId="{BAAEF609-C1C0-4D9D-8499-1AFA622C75B6}" srcOrd="0" destOrd="0" presId="urn:microsoft.com/office/officeart/2005/8/layout/chevron1"/>
    <dgm:cxn modelId="{8C3FEFA0-B433-43DD-A98B-B2DD855D7541}" type="presOf" srcId="{DB69F9E2-5E65-4863-A160-EBD2AB9D468F}" destId="{BDAA6ECB-5FBE-44F1-A036-EC1A91C130A6}" srcOrd="0" destOrd="0" presId="urn:microsoft.com/office/officeart/2005/8/layout/chevron1"/>
    <dgm:cxn modelId="{6C05B2E8-394B-47D9-AAEA-CBEDBBF28AB4}" srcId="{90D818B4-4FC7-426C-809E-B4F48F530F6E}" destId="{DB69F9E2-5E65-4863-A160-EBD2AB9D468F}" srcOrd="1" destOrd="0" parTransId="{8824FF50-6F80-4D69-A0E0-66F9F1A8CAB9}" sibTransId="{F87AA65E-394F-411E-B068-E0680E554228}"/>
    <dgm:cxn modelId="{D4BAB4FA-C9CB-4934-BFC5-2BC286C8A285}" srcId="{90D818B4-4FC7-426C-809E-B4F48F530F6E}" destId="{E3B89146-ED26-41AE-ABE9-A8CBA0A1FE58}" srcOrd="0" destOrd="0" parTransId="{8EED6686-36D8-4692-A54D-77121D9A486B}" sibTransId="{DFC1EE3F-4E8D-4C8D-A867-57AAC6C864C3}"/>
    <dgm:cxn modelId="{599A72A4-6275-4773-A03B-0875248E2E93}" type="presParOf" srcId="{9651EF4E-0A0E-4638-B3C1-CEA762D37745}" destId="{BAAEF609-C1C0-4D9D-8499-1AFA622C75B6}" srcOrd="0" destOrd="0" presId="urn:microsoft.com/office/officeart/2005/8/layout/chevron1"/>
    <dgm:cxn modelId="{DFDFEB0C-B63C-4B18-A313-DFBA26413E7A}" type="presParOf" srcId="{9651EF4E-0A0E-4638-B3C1-CEA762D37745}" destId="{43CD8B0E-4497-44FA-8A03-09A491CEE733}" srcOrd="1" destOrd="0" presId="urn:microsoft.com/office/officeart/2005/8/layout/chevron1"/>
    <dgm:cxn modelId="{6E64B3F0-CFB0-410C-BE20-D8030D923F55}" type="presParOf" srcId="{9651EF4E-0A0E-4638-B3C1-CEA762D37745}" destId="{BDAA6ECB-5FBE-44F1-A036-EC1A91C130A6}" srcOrd="2" destOrd="0" presId="urn:microsoft.com/office/officeart/2005/8/layout/chevron1"/>
    <dgm:cxn modelId="{FCD011B2-B4C2-410B-B157-B25EF8B77270}" type="presParOf" srcId="{9651EF4E-0A0E-4638-B3C1-CEA762D37745}" destId="{3283F7B6-861A-4AB4-BED6-377A8AFD3EE4}" srcOrd="3" destOrd="0" presId="urn:microsoft.com/office/officeart/2005/8/layout/chevron1"/>
    <dgm:cxn modelId="{6831988A-BECD-4613-AAE1-5574440A8C50}" type="presParOf" srcId="{9651EF4E-0A0E-4638-B3C1-CEA762D37745}" destId="{892F87F8-53E0-47F0-893C-70334F8F932E}" srcOrd="4" destOrd="0" presId="urn:microsoft.com/office/officeart/2005/8/layout/chevron1"/>
    <dgm:cxn modelId="{53566222-0FF7-4880-8EB6-DEF37452D75D}" type="presParOf" srcId="{9651EF4E-0A0E-4638-B3C1-CEA762D37745}" destId="{33D03CDB-4ECC-496D-8D10-3586EB6AC37E}" srcOrd="5" destOrd="0" presId="urn:microsoft.com/office/officeart/2005/8/layout/chevron1"/>
    <dgm:cxn modelId="{F9F5649E-914C-4DE4-A99A-101FFFDC4942}" type="presParOf" srcId="{9651EF4E-0A0E-4638-B3C1-CEA762D37745}" destId="{6F2EB14F-26C9-4558-94E0-44977AE5281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AEF609-C1C0-4D9D-8499-1AFA622C75B6}">
      <dsp:nvSpPr>
        <dsp:cNvPr id="0" name=""/>
        <dsp:cNvSpPr/>
      </dsp:nvSpPr>
      <dsp:spPr>
        <a:xfrm>
          <a:off x="3388" y="292626"/>
          <a:ext cx="1972347" cy="788938"/>
        </a:xfrm>
        <a:prstGeom prst="chevron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>
              <a:latin typeface="Santander Text" panose="020B0504020201020104" pitchFamily="34" charset="0"/>
            </a:rPr>
            <a:t>Input Info</a:t>
          </a:r>
        </a:p>
      </dsp:txBody>
      <dsp:txXfrm>
        <a:off x="397857" y="292626"/>
        <a:ext cx="1183409" cy="788938"/>
      </dsp:txXfrm>
    </dsp:sp>
    <dsp:sp modelId="{BDAA6ECB-5FBE-44F1-A036-EC1A91C130A6}">
      <dsp:nvSpPr>
        <dsp:cNvPr id="0" name=""/>
        <dsp:cNvSpPr/>
      </dsp:nvSpPr>
      <dsp:spPr>
        <a:xfrm>
          <a:off x="1778500" y="292626"/>
          <a:ext cx="1972347" cy="788938"/>
        </a:xfrm>
        <a:prstGeom prst="chevron">
          <a:avLst/>
        </a:prstGeom>
        <a:solidFill>
          <a:schemeClr val="accent2">
            <a:shade val="80000"/>
            <a:hueOff val="215966"/>
            <a:satOff val="-29145"/>
            <a:lumOff val="143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>
              <a:latin typeface="Santander Text" panose="020B0504020201020104" pitchFamily="34" charset="0"/>
            </a:rPr>
            <a:t>Prompts + OpenAI API</a:t>
          </a:r>
        </a:p>
      </dsp:txBody>
      <dsp:txXfrm>
        <a:off x="2172969" y="292626"/>
        <a:ext cx="1183409" cy="788938"/>
      </dsp:txXfrm>
    </dsp:sp>
    <dsp:sp modelId="{892F87F8-53E0-47F0-893C-70334F8F932E}">
      <dsp:nvSpPr>
        <dsp:cNvPr id="0" name=""/>
        <dsp:cNvSpPr/>
      </dsp:nvSpPr>
      <dsp:spPr>
        <a:xfrm>
          <a:off x="3553613" y="292626"/>
          <a:ext cx="1972347" cy="788938"/>
        </a:xfrm>
        <a:prstGeom prst="chevron">
          <a:avLst/>
        </a:prstGeom>
        <a:solidFill>
          <a:schemeClr val="accent2">
            <a:shade val="80000"/>
            <a:hueOff val="431932"/>
            <a:satOff val="-58289"/>
            <a:lumOff val="287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>
              <a:latin typeface="Santander Text" panose="020B0504020201020104" pitchFamily="34" charset="0"/>
            </a:rPr>
            <a:t>Data Base Upload</a:t>
          </a:r>
        </a:p>
      </dsp:txBody>
      <dsp:txXfrm>
        <a:off x="3948082" y="292626"/>
        <a:ext cx="1183409" cy="788938"/>
      </dsp:txXfrm>
    </dsp:sp>
    <dsp:sp modelId="{6F2EB14F-26C9-4558-94E0-44977AE52815}">
      <dsp:nvSpPr>
        <dsp:cNvPr id="0" name=""/>
        <dsp:cNvSpPr/>
      </dsp:nvSpPr>
      <dsp:spPr>
        <a:xfrm>
          <a:off x="5328726" y="292626"/>
          <a:ext cx="1972347" cy="788938"/>
        </a:xfrm>
        <a:prstGeom prst="chevron">
          <a:avLst/>
        </a:prstGeom>
        <a:solidFill>
          <a:schemeClr val="accent2">
            <a:shade val="80000"/>
            <a:hueOff val="647898"/>
            <a:satOff val="-87434"/>
            <a:lumOff val="4308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 dirty="0">
              <a:latin typeface="Santander Text" panose="020B0504020201020104" pitchFamily="34" charset="0"/>
            </a:rPr>
            <a:t>Reporting</a:t>
          </a:r>
        </a:p>
      </dsp:txBody>
      <dsp:txXfrm>
        <a:off x="5723195" y="292626"/>
        <a:ext cx="1183409" cy="7889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4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4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D52AEF-820C-47F8-88FF-AC482D41B83D}" type="datetimeFigureOut">
              <a:rPr lang="es-ES" smtClean="0"/>
              <a:t>14/07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31900"/>
            <a:ext cx="5918200" cy="3328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45107"/>
            <a:ext cx="5438140" cy="38823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365255"/>
            <a:ext cx="2945659" cy="494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365255"/>
            <a:ext cx="2945659" cy="494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50380B-E120-4098-ACE4-02CF6992DFB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610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829C5C-A253-38EF-4BD4-6FC1DB692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B25BD0B-3FE9-09FF-5FA7-50AA103B5F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EDE0598-C03D-1BC6-0C14-849A62B04F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89A195A-6F99-3CF2-4F74-8F21C76E1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1382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1F8B4-FB6E-D79B-00F3-012AA63B0A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AC3111B-85BF-916B-BADA-F6E78BA807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51FA938-4593-3878-D432-9489AC1643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FD5B8D5-3F1D-79E2-2BA1-69B6E99B31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738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5CBEC-AFDD-BE1D-822A-7F3927211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A35E918-7A04-BC5B-D8F2-B3611C9F67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C8EA30F-1F40-CEC7-5ED9-95F31C7A2A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9DD7FC2-B7FC-F745-2986-BE413D49B2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50292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92515-4113-3598-B952-0901CA8A58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3D5936F-E8B0-CD84-C99D-C9E908B2A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E37AC74-FB0A-DDFE-2F9A-60118D2E96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055608B-F6D7-F701-F5A9-B29EF57270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29930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1F5355-A111-5D4D-9F85-3836A6FA0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C5B0B69-FA16-85ED-DB13-8F98A9D411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0856BA0-17E6-C7B1-961B-6909344EA8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F27B992-53F7-2DFB-0891-06F3F63459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97949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E3A60-02E8-0CBA-EF22-709895DB72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50CF8E1-EF1D-6FA5-DAED-5C4FE86522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8C0C076-D3DB-A57F-7B57-5D108BE6ED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4CFEE22-BC46-6C03-FE6D-AA9A132AD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2670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DE406-BA4A-893E-7675-6AA644428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B516F26-8F84-40A3-67C6-8A7AFB3F6E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798B483-993D-0FA0-7DD0-0D4F85EC8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9B71443-45CF-060C-D3A7-3A7EACB5C9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25100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CCE0A3-FFD5-07A1-8E51-5B2F0E357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A4A4991-E975-4F53-709A-B7540C84BB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84DF529-C5C9-93B6-DF35-69BD51B056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CB404E8-884D-F1A1-74D8-D2D2BAFDD9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78675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71DE5-29F5-4071-693B-A90312985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2D4BA27-98E4-51DE-D2CC-8A2189EDC5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AD4A095-FC3B-B34E-015C-5714F1EDA2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FFAD3E-3C37-DCB2-046A-EFA2DB9918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6153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E2DD83-374A-A6AD-E7AB-D8E04B986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CCFF3F0-CE5A-1395-BE71-21F473C5E2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EE432F7-4A03-57F5-08A6-590B2C12FF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FAF7333-23C8-4DF8-FB4F-2E16B86C52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14562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B7878-5F3F-9854-36EB-5722B31EE1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F0B6056-A983-59F9-62FC-D06B24A29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A77F49D-77B9-97A3-35EB-885E0BDDAE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4CA230-A85F-E93B-4F57-7D95D473B1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6947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D04710-01A0-C5F7-E403-67B7F326D1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A6DCD9D-59BA-2A2E-D2F0-79AE9CB79D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3823B69-7D75-DC73-B3FA-1C2FAD192D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E7A5E62-E930-9CA9-BF80-971B851844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75253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7CD86-8D70-6697-CA5A-60EDDA39F1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BA9D689-63B2-3AF1-710A-CDC591C300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C3A82AB-1DA9-0D3C-BD53-64BC5C9914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1C603E3-D497-3BA1-9EF6-681550767B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04296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4FC59-4FFA-9C29-D995-038B59090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A31A53A-FCBF-8DDC-F1FA-876417E03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EA58128-6D5F-1AC2-3C9B-E85AEE2433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A1EF461-5B56-9AA1-3A8B-5D0167C14C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78920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E97ED9-45BE-D5FD-00AE-8A03D70A6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2598C53D-991B-2E43-49B0-49FBAD0B2C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31900"/>
            <a:ext cx="5918200" cy="3328988"/>
          </a:xfrm>
        </p:spPr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550A1D6D-019D-E76A-E56A-92260BCFB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5125066-98A8-D84A-413B-0FA1E81224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0380B-E120-4098-ACE4-02CF6992DFB3}" type="slidenum">
              <a:rPr lang="es-ES" smtClean="0"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4008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4267E86C-51F4-46D7-B611-7A1D08C94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4675" y="0"/>
            <a:ext cx="8013192" cy="6858000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7" name="Título 1">
            <a:extLst>
              <a:ext uri="{FF2B5EF4-FFF2-40B4-BE49-F238E27FC236}">
                <a16:creationId xmlns:a16="http://schemas.microsoft.com/office/drawing/2014/main" id="{FBDFF754-EDB8-4E81-BCD5-E071387950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8" name="Subtítulo 2">
            <a:extLst>
              <a:ext uri="{FF2B5EF4-FFF2-40B4-BE49-F238E27FC236}">
                <a16:creationId xmlns:a16="http://schemas.microsoft.com/office/drawing/2014/main" id="{A6D070AE-1992-4212-B9A7-D33AB83D5A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3D412860-04C7-46B9-BE93-8051E5FC02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054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4941AD11-3321-4750-AD4C-93EA9F742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69" y="875626"/>
            <a:ext cx="6226631" cy="5982374"/>
          </a:xfrm>
          <a:prstGeom prst="rect">
            <a:avLst/>
          </a:prstGeom>
        </p:spPr>
      </p:pic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379A0E88-5C43-43D5-9A31-7B355FD4C632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E756615C-F2F6-4E87-8FE8-9CE4D51C239F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308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2BB35CB8-2843-4486-AF30-CC8D6B22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5"/>
          <a:stretch/>
        </p:blipFill>
        <p:spPr>
          <a:xfrm>
            <a:off x="-1" y="653143"/>
            <a:ext cx="12191999" cy="6204857"/>
          </a:xfrm>
          <a:prstGeom prst="rect">
            <a:avLst/>
          </a:prstGeom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915027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9386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1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2BB35CB8-2843-4486-AF30-CC8D6B22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5"/>
          <a:stretch/>
        </p:blipFill>
        <p:spPr>
          <a:xfrm>
            <a:off x="-1" y="653143"/>
            <a:ext cx="12191999" cy="6204857"/>
          </a:xfrm>
          <a:prstGeom prst="rect">
            <a:avLst/>
          </a:prstGeom>
        </p:spPr>
      </p:pic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EB20E1A8-28A8-4DD8-95F7-3AF0547DBAC0}"/>
              </a:ext>
            </a:extLst>
          </p:cNvPr>
          <p:cNvCxnSpPr>
            <a:cxnSpLocks/>
          </p:cNvCxnSpPr>
          <p:nvPr userDrawn="1"/>
        </p:nvCxnSpPr>
        <p:spPr>
          <a:xfrm>
            <a:off x="2274570" y="260032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033C59A-0EF0-4472-BD1A-A1A51660E922}"/>
              </a:ext>
            </a:extLst>
          </p:cNvPr>
          <p:cNvCxnSpPr>
            <a:cxnSpLocks/>
          </p:cNvCxnSpPr>
          <p:nvPr userDrawn="1"/>
        </p:nvCxnSpPr>
        <p:spPr>
          <a:xfrm>
            <a:off x="6106632" y="214914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25BF70F4-0781-44A8-91C3-F85682BB1C9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14282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E82900D6-E4AB-494C-AAC5-EC6B37620D3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188132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57315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digital de una ciudad&#10;&#10;Descripción generada automáticamente">
            <a:extLst>
              <a:ext uri="{FF2B5EF4-FFF2-40B4-BE49-F238E27FC236}">
                <a16:creationId xmlns:a16="http://schemas.microsoft.com/office/drawing/2014/main" id="{4BCEBA49-858A-42E6-84C6-24CD5438A5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53144"/>
            <a:ext cx="12192000" cy="6204856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CEAE61F-DDB5-4ABF-B102-CA4BBBDB3979}"/>
              </a:ext>
            </a:extLst>
          </p:cNvPr>
          <p:cNvSpPr/>
          <p:nvPr userDrawn="1"/>
        </p:nvSpPr>
        <p:spPr>
          <a:xfrm>
            <a:off x="1" y="653143"/>
            <a:ext cx="12054840" cy="6204857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881573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4599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digital de una ciudad&#10;&#10;Descripción generada automáticamente">
            <a:extLst>
              <a:ext uri="{FF2B5EF4-FFF2-40B4-BE49-F238E27FC236}">
                <a16:creationId xmlns:a16="http://schemas.microsoft.com/office/drawing/2014/main" id="{4BCEBA49-858A-42E6-84C6-24CD5438A5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53144"/>
            <a:ext cx="12192000" cy="6204856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CEAE61F-DDB5-4ABF-B102-CA4BBBDB3979}"/>
              </a:ext>
            </a:extLst>
          </p:cNvPr>
          <p:cNvSpPr/>
          <p:nvPr userDrawn="1"/>
        </p:nvSpPr>
        <p:spPr>
          <a:xfrm>
            <a:off x="1" y="653143"/>
            <a:ext cx="12054840" cy="6204857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089E0271-1DC5-46FF-A5C8-07A126914C9F}"/>
              </a:ext>
            </a:extLst>
          </p:cNvPr>
          <p:cNvCxnSpPr>
            <a:cxnSpLocks/>
          </p:cNvCxnSpPr>
          <p:nvPr userDrawn="1"/>
        </p:nvCxnSpPr>
        <p:spPr>
          <a:xfrm>
            <a:off x="2274570" y="414972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DF1C767-A900-4681-ABA3-69A761A66323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69854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031D0E45-B2D2-49E2-A9BA-7B97F1F496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29776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DCA016D0-3D0E-4F0F-AF8A-E490F196E15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343072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4992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Haga clic para añadir el título</a:t>
            </a:r>
          </a:p>
        </p:txBody>
      </p:sp>
      <p:pic>
        <p:nvPicPr>
          <p:cNvPr id="6" name="Imagen 5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B329B0B3-F50C-4F37-81EB-EADF1926A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4"/>
            <a:ext cx="12191999" cy="6204856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A8698D3F-0FC7-4C98-9D9B-AE90BA8B1C44}"/>
              </a:ext>
            </a:extLst>
          </p:cNvPr>
          <p:cNvSpPr/>
          <p:nvPr userDrawn="1"/>
        </p:nvSpPr>
        <p:spPr>
          <a:xfrm>
            <a:off x="-1" y="653144"/>
            <a:ext cx="11978641" cy="6204856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95C17B94-B74F-4A90-82A5-28ED96009B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23862" y="2522346"/>
            <a:ext cx="1739475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6C91F74-2137-4971-AF7A-BC83AE1C7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3" y="1471142"/>
            <a:ext cx="2015389" cy="1051204"/>
          </a:xfrm>
          <a:prstGeom prst="rect">
            <a:avLst/>
          </a:prstGeom>
        </p:spPr>
        <p:txBody>
          <a:bodyPr/>
          <a:lstStyle>
            <a:lvl1pPr marL="0"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3200" kern="1200" dirty="0">
                <a:solidFill>
                  <a:schemeClr val="bg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05467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B329B0B3-F50C-4F37-81EB-EADF1926A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4"/>
            <a:ext cx="12191999" cy="6204856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A8698D3F-0FC7-4C98-9D9B-AE90BA8B1C44}"/>
              </a:ext>
            </a:extLst>
          </p:cNvPr>
          <p:cNvSpPr/>
          <p:nvPr userDrawn="1"/>
        </p:nvSpPr>
        <p:spPr>
          <a:xfrm>
            <a:off x="-1" y="653144"/>
            <a:ext cx="11978641" cy="6204856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0C09614A-53B9-4A61-84A7-859FB3707A5A}"/>
              </a:ext>
            </a:extLst>
          </p:cNvPr>
          <p:cNvCxnSpPr>
            <a:cxnSpLocks/>
          </p:cNvCxnSpPr>
          <p:nvPr userDrawn="1"/>
        </p:nvCxnSpPr>
        <p:spPr>
          <a:xfrm>
            <a:off x="2274570" y="383476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2E13198-EF88-4783-926A-8BB8AE962ED5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38358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2E8BE9B3-F3A3-4B21-AE5B-F5319D210B1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98969" y="266270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770A02B3-CD47-404C-BBA0-BA4E67E4CD1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70719" y="31157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077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2B4307D-F1C4-4A63-8C46-893B38B31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6"/>
            <a:ext cx="12182476" cy="6220193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5CF344C-345E-4944-96EE-FB3C28602850}"/>
              </a:ext>
            </a:extLst>
          </p:cNvPr>
          <p:cNvSpPr/>
          <p:nvPr userDrawn="1"/>
        </p:nvSpPr>
        <p:spPr>
          <a:xfrm>
            <a:off x="-1" y="637806"/>
            <a:ext cx="11978641" cy="6220194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9E79BD3-ED04-4E11-8162-5388EE3EB4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9" y="1409703"/>
            <a:ext cx="1836968" cy="89388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DD850D1D-BB44-476F-914F-031D2FA875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5940" y="2369946"/>
            <a:ext cx="2253639" cy="16452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16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8234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_Impact_05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2B4307D-F1C4-4A63-8C46-893B38B31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6"/>
            <a:ext cx="12182476" cy="6220193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5CF344C-345E-4944-96EE-FB3C28602850}"/>
              </a:ext>
            </a:extLst>
          </p:cNvPr>
          <p:cNvSpPr/>
          <p:nvPr userDrawn="1"/>
        </p:nvSpPr>
        <p:spPr>
          <a:xfrm>
            <a:off x="-1" y="637806"/>
            <a:ext cx="11978641" cy="6220194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5FC653A8-EB78-4233-9B05-513594F97F44}"/>
              </a:ext>
            </a:extLst>
          </p:cNvPr>
          <p:cNvCxnSpPr>
            <a:cxnSpLocks/>
          </p:cNvCxnSpPr>
          <p:nvPr userDrawn="1"/>
        </p:nvCxnSpPr>
        <p:spPr>
          <a:xfrm>
            <a:off x="2274570" y="4177668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F6712989-55A3-401E-B2A7-5B2B0B52387D}"/>
              </a:ext>
            </a:extLst>
          </p:cNvPr>
          <p:cNvCxnSpPr>
            <a:cxnSpLocks/>
          </p:cNvCxnSpPr>
          <p:nvPr userDrawn="1"/>
        </p:nvCxnSpPr>
        <p:spPr>
          <a:xfrm>
            <a:off x="6106632" y="3726484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F8F69366-A0B9-45CF-8EE9-56E8B8765C6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969" y="300560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 err="1"/>
              <a:t>Impact</a:t>
            </a:r>
            <a:r>
              <a:rPr lang="es-ES" sz="3600" dirty="0"/>
              <a:t> </a:t>
            </a:r>
            <a:r>
              <a:rPr lang="es-ES" sz="3600" dirty="0" err="1"/>
              <a:t>slide</a:t>
            </a:r>
            <a:endParaRPr lang="es-ES" sz="3600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EA34F909-4D2B-4978-B98F-CBD630929BC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70719" y="3458663"/>
            <a:ext cx="3618338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 </a:t>
            </a:r>
            <a:r>
              <a:rPr lang="es-ES" dirty="0" err="1"/>
              <a:t>Inspirational</a:t>
            </a:r>
            <a:r>
              <a:rPr lang="es-ES" dirty="0"/>
              <a:t> </a:t>
            </a:r>
            <a:r>
              <a:rPr lang="es-ES" dirty="0" err="1"/>
              <a:t>phras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6519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-12701" y="0"/>
            <a:ext cx="4655358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bg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5" y="873128"/>
            <a:ext cx="2163098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EAD1B9FA-077D-43F7-B31C-3E6557F96B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981" y="273933"/>
            <a:ext cx="1031951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908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AB8CCE50-3C10-43EB-AD2E-1BA3DA7BF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202" y="-1"/>
            <a:ext cx="7934890" cy="6858001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2" name="Título 1">
            <a:extLst>
              <a:ext uri="{FF2B5EF4-FFF2-40B4-BE49-F238E27FC236}">
                <a16:creationId xmlns:a16="http://schemas.microsoft.com/office/drawing/2014/main" id="{5CD7A62F-0FAA-498A-9925-E9C698702D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D540F819-D00C-4880-93D8-F72F845CE6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6BB9AE6F-2C06-46B2-AF3E-2B591A44A6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49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E186EE22-9E95-4126-AB3D-0F81CC56F3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8" y="2708346"/>
            <a:ext cx="1960562" cy="2476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1" i="0">
                <a:solidFill>
                  <a:schemeClr val="tx1"/>
                </a:solidFill>
                <a:latin typeface="Santander Text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5B3AABB-B53D-46B5-8727-95C585D257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8" y="2956000"/>
            <a:ext cx="11352212" cy="34352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0" i="0">
                <a:solidFill>
                  <a:schemeClr val="tx1"/>
                </a:solidFill>
                <a:latin typeface="Santander Text Light" panose="020B03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45344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FB77043E-2525-47F7-8F31-7A92994A3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7"/>
            <a:ext cx="3181299" cy="549854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2864774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DT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0736881D-BBF2-444C-8441-265893FC95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8"/>
            <a:ext cx="3181298" cy="54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75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D5F0CF-A59C-45D8-8B90-4C68A47359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8E9D0C20-A937-47C8-87DD-C13BE947DB6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93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62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222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89BC3D96-72AD-4103-B6F1-48C137332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7359" y="2001528"/>
            <a:ext cx="4923316" cy="41062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39BD0FF-87E8-4E82-AC8D-F2C3BE9473D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818314" y="1691640"/>
            <a:ext cx="4932363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5" name="Marcador de contenido 14">
            <a:extLst>
              <a:ext uri="{FF2B5EF4-FFF2-40B4-BE49-F238E27FC236}">
                <a16:creationId xmlns:a16="http://schemas.microsoft.com/office/drawing/2014/main" id="{7F9DB77A-2827-410A-B8AD-D75217F5F0C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454027" y="1692275"/>
            <a:ext cx="5316538" cy="436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71475" indent="0">
              <a:buNone/>
              <a:defRPr/>
            </a:lvl2pPr>
            <a:lvl3pPr marL="742950" indent="0">
              <a:buNone/>
              <a:defRPr/>
            </a:lvl3pPr>
            <a:lvl4pPr marL="1114425" indent="0">
              <a:buNone/>
              <a:defRPr/>
            </a:lvl4pPr>
            <a:lvl5pPr marL="1485900" indent="0">
              <a:buNone/>
              <a:defRPr/>
            </a:lvl5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74543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36" userDrawn="1">
          <p15:clr>
            <a:srgbClr val="FBAE40"/>
          </p15:clr>
        </p15:guide>
        <p15:guide id="3" pos="404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89BC3D96-72AD-4103-B6F1-48C1373326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20338" y="2002163"/>
            <a:ext cx="5319225" cy="41062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39BD0FF-87E8-4E82-AC8D-F2C3BE9473D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20341" y="1692275"/>
            <a:ext cx="5319225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5" name="Marcador de contenido 14">
            <a:extLst>
              <a:ext uri="{FF2B5EF4-FFF2-40B4-BE49-F238E27FC236}">
                <a16:creationId xmlns:a16="http://schemas.microsoft.com/office/drawing/2014/main" id="{7F9DB77A-2827-410A-B8AD-D75217F5F0C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452437" y="1692275"/>
            <a:ext cx="5316538" cy="436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71475" indent="0">
              <a:buNone/>
              <a:defRPr/>
            </a:lvl2pPr>
            <a:lvl3pPr marL="742950" indent="0">
              <a:buNone/>
              <a:defRPr/>
            </a:lvl3pPr>
            <a:lvl4pPr marL="1114425" indent="0">
              <a:buNone/>
              <a:defRPr/>
            </a:lvl4pPr>
            <a:lvl5pPr marL="1485900" indent="0">
              <a:buNone/>
              <a:defRPr/>
            </a:lvl5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534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36" userDrawn="1">
          <p15:clr>
            <a:srgbClr val="FBAE40"/>
          </p15:clr>
        </p15:guide>
        <p15:guide id="3" pos="404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5CABBC28-838E-4E75-B2CC-19063D2B85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19850" y="2001528"/>
            <a:ext cx="533019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22FF684A-1120-4A8E-A122-8486CD10B2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19850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533019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1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558840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  <p15:guide id="2" orient="horz" pos="107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 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5CABBC28-838E-4E75-B2CC-19063D2B85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19850" y="2001529"/>
            <a:ext cx="5330190" cy="129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22FF684A-1120-4A8E-A122-8486CD10B2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19850" y="1691640"/>
            <a:ext cx="5329238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9"/>
            <a:ext cx="5330190" cy="129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9259" y="1691640"/>
            <a:ext cx="53205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8" name="Marcador de gráfico 3">
            <a:extLst>
              <a:ext uri="{FF2B5EF4-FFF2-40B4-BE49-F238E27FC236}">
                <a16:creationId xmlns:a16="http://schemas.microsoft.com/office/drawing/2014/main" id="{A534100C-A7C2-47DE-9915-7861CD80024C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3525" y="3970790"/>
            <a:ext cx="5352987" cy="22665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325A055B-C838-43E5-AC0B-878944DF80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3523" y="3486084"/>
            <a:ext cx="536232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6599239B-B8B4-40AD-BBE6-511C91D1F35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867" y="3718279"/>
            <a:ext cx="536597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11" name="Marcador de gráfico 3">
            <a:extLst>
              <a:ext uri="{FF2B5EF4-FFF2-40B4-BE49-F238E27FC236}">
                <a16:creationId xmlns:a16="http://schemas.microsoft.com/office/drawing/2014/main" id="{88231BB7-4DC5-412C-A632-7301D2649DB2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6398848" y="3970790"/>
            <a:ext cx="5352987" cy="226650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268C0BF3-5A29-4B8B-A9C2-D473954B5BA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398846" y="3486084"/>
            <a:ext cx="536232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4BAC8A95-21EE-4B3F-92AD-36F23407443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95190" y="3718279"/>
            <a:ext cx="536597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57295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36" userDrawn="1">
          <p15:clr>
            <a:srgbClr val="FBAE40"/>
          </p15:clr>
        </p15:guide>
        <p15:guide id="2" orient="horz" pos="107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6199B7CC-FF45-4609-91BB-69AD45630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3622" y="0"/>
            <a:ext cx="7906622" cy="6858000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BB57EE8B-DF98-45CD-B769-4B655A96F751}"/>
              </a:ext>
            </a:extLst>
          </p:cNvPr>
          <p:cNvGrpSpPr/>
          <p:nvPr userDrawn="1"/>
        </p:nvGrpSpPr>
        <p:grpSpPr>
          <a:xfrm>
            <a:off x="-12700" y="0"/>
            <a:ext cx="4864100" cy="6858000"/>
            <a:chOff x="-756458" y="0"/>
            <a:chExt cx="4655357" cy="6858000"/>
          </a:xfrm>
          <a:solidFill>
            <a:srgbClr val="F6F6F6"/>
          </a:solidFill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DD3C2D2D-54E9-48E1-B01F-2B83D2704E76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EDCB4A4F-9F0A-440B-BF78-8F6A92C7AA0F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1" name="Título 1">
            <a:extLst>
              <a:ext uri="{FF2B5EF4-FFF2-40B4-BE49-F238E27FC236}">
                <a16:creationId xmlns:a16="http://schemas.microsoft.com/office/drawing/2014/main" id="{76CF1265-6925-4C3C-889D-13DC7F1CD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736169"/>
            <a:ext cx="3745575" cy="11749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br>
              <a:rPr lang="es-ES" dirty="0"/>
            </a:b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B72F59BE-42FB-4763-99E8-94F51EBCDC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1936315"/>
            <a:ext cx="3759709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add a subtitle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EB73D48A-43F4-49A4-A9CF-446550DC7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6050674"/>
            <a:ext cx="2262550" cy="39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117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11206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16484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7E527339-F4B2-4F0A-AB1B-5E840BA4F9A9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6838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DC08B26D-FEAE-4BD2-9859-FC875AD50D1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59151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94D936F-A713-496A-9059-66BCCED8174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59151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6F6E1165-B366-4B72-A4D3-D5BA0CBB00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7771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B738A51-AACA-495B-B606-C135442DA04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7770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469C4768-3E8E-45F7-8742-31D13A351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16393" y="2001528"/>
            <a:ext cx="252603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6AE31F30-1E54-4723-885E-60A1530BF59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1639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0633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s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2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DC08B26D-FEAE-4BD2-9859-FC875AD50D1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59151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94D936F-A713-496A-9059-66BCCED8174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59151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6F6E1165-B366-4B72-A4D3-D5BA0CBB00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7771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B738A51-AACA-495B-B606-C135442DA04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7770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469C4768-3E8E-45F7-8742-31D13A351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16393" y="2001528"/>
            <a:ext cx="2526030" cy="1547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6AE31F30-1E54-4723-885E-60A1530BF59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16392" y="1691640"/>
            <a:ext cx="252603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080ED81B-83CB-4063-82C4-5FB8AF295666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9428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6AD90256-1F21-4D4E-8047-4EB7E526CDE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7749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75E22A7A-83AD-4DE8-9CCC-AE0E4931F85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77749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1EA1515-C262-4ECD-8718-B29C6D0B814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12445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E4667152-FA4A-4C86-ABB6-161FE5FCE05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2445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2D54F16F-5399-4DFF-81DD-05C3C290F37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47141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806D2E64-8015-4378-99D2-7F3FBB7CE6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47141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88D31CE1-EB33-4F4E-A333-90BC91B72F0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8371" y="2001528"/>
            <a:ext cx="1946910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1EA41D21-AEBA-4211-B673-E31BF64338B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1837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27856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s and obj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6AD90256-1F21-4D4E-8047-4EB7E526CDE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7749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75E22A7A-83AD-4DE8-9CCC-AE0E4931F85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77749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1EA1515-C262-4ECD-8718-B29C6D0B814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12445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E4667152-FA4A-4C86-ABB6-161FE5FCE05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2445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2D54F16F-5399-4DFF-81DD-05C3C290F37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47141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806D2E64-8015-4378-99D2-7F3FBB7CE6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47141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88D31CE1-EB33-4F4E-A333-90BC91B72F0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8371" y="2001528"/>
            <a:ext cx="1946910" cy="16789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0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1EA41D21-AEBA-4211-B673-E31BF64338B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18370" y="1691640"/>
            <a:ext cx="1946910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1A45D9-B8C5-434B-A776-D67A978AD4A9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43524" y="3802066"/>
            <a:ext cx="11322538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s-ES" dirty="0" err="1"/>
              <a:t>Objec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5445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9F1BD82B-E630-4B23-8BBD-D80538BBE6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CFDC21D-183F-494F-B133-8BF0B4B50EF1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E0C86575-1BCD-4949-9EA5-B7F6F2815E8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053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286FB7D4-43F9-4AF5-8A85-3CBBD799CF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053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A5E54CA9-9FF4-4D4C-8935-76F556EC429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341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297E71B9-8675-40F2-A64B-6CF31007514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2341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D1AAA61F-67F6-4210-9E4C-08B0688ED9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6293" y="2001528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2CACDDBE-E3FC-4D22-A808-A5B71A9505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16290" y="1691640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F9CF7978-9721-43A9-9A6E-683593D649F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3053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A92C6E7E-1B9A-4B5B-8786-9427101847C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053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9FA8B101-54B2-47F7-9319-DA50FABCBE5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42341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26537227-D7EB-4CCD-810A-72C09E92618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2341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79D245BF-7879-489A-BAB7-C9F6130998F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416293" y="4174794"/>
            <a:ext cx="3341369" cy="11362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5AA661E4-FA7A-4915-AA9E-67B0BAD696B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416290" y="3864906"/>
            <a:ext cx="3341369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2495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CC2FBE8A-CB65-4639-BE93-14FFE6CC8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222500"/>
            <a:ext cx="4348641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B0B5EDF-8213-4E5E-BBAB-F8DEAA36F4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2915" y="1836420"/>
            <a:ext cx="4357687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  <p:sp>
        <p:nvSpPr>
          <p:cNvPr id="11" name="Marcador de texto 5">
            <a:extLst>
              <a:ext uri="{FF2B5EF4-FFF2-40B4-BE49-F238E27FC236}">
                <a16:creationId xmlns:a16="http://schemas.microsoft.com/office/drawing/2014/main" id="{47C1F83D-8FEE-5C4E-9D16-6DBBE6AE8A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2933" y="3504687"/>
            <a:ext cx="1924494" cy="3357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81D2781-599C-054E-9531-5EE9D90701B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12922" y="2951791"/>
            <a:ext cx="1924494" cy="31719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6" name="Marcador de texto 5">
            <a:extLst>
              <a:ext uri="{FF2B5EF4-FFF2-40B4-BE49-F238E27FC236}">
                <a16:creationId xmlns:a16="http://schemas.microsoft.com/office/drawing/2014/main" id="{7A24E957-D9F9-104C-A759-0F986B4FC5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803220" y="2398898"/>
            <a:ext cx="1924494" cy="3138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03364819-BC4E-4452-BA23-03F03EC786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60" y="939173"/>
            <a:ext cx="4375787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A096C12-70EB-495B-B8B1-7E6E9F7E9EB8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75866655-1365-4A48-80E0-EBFD1B8C457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89844" y="3855722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C0BC5578-85AE-453E-90FE-6CC81995B7B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612922" y="3288347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F903FB2E-FECB-43FD-A778-E1313EE438B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810047" y="2731179"/>
            <a:ext cx="1924494" cy="2282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8085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5">
            <a:extLst>
              <a:ext uri="{FF2B5EF4-FFF2-40B4-BE49-F238E27FC236}">
                <a16:creationId xmlns:a16="http://schemas.microsoft.com/office/drawing/2014/main" id="{47C1F83D-8FEE-5C4E-9D16-6DBBE6AE8A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0708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1D2E9031-3A36-AE46-B493-4A5EB019925B}"/>
              </a:ext>
            </a:extLst>
          </p:cNvPr>
          <p:cNvCxnSpPr>
            <a:cxnSpLocks/>
          </p:cNvCxnSpPr>
          <p:nvPr userDrawn="1"/>
        </p:nvCxnSpPr>
        <p:spPr>
          <a:xfrm>
            <a:off x="5370525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81D2781-599C-054E-9531-5EE9D90701B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81016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679A56D5-4D24-A944-80D7-7D5EAD0CF4DF}"/>
              </a:ext>
            </a:extLst>
          </p:cNvPr>
          <p:cNvCxnSpPr>
            <a:cxnSpLocks/>
          </p:cNvCxnSpPr>
          <p:nvPr userDrawn="1"/>
        </p:nvCxnSpPr>
        <p:spPr>
          <a:xfrm>
            <a:off x="7560830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texto 5">
            <a:extLst>
              <a:ext uri="{FF2B5EF4-FFF2-40B4-BE49-F238E27FC236}">
                <a16:creationId xmlns:a16="http://schemas.microsoft.com/office/drawing/2014/main" id="{7A24E957-D9F9-104C-A759-0F986B4FC5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92579" y="936626"/>
            <a:ext cx="1956390" cy="6588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60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6E23DF16-4F86-5346-AA0C-5F70A3BCECD4}"/>
              </a:ext>
            </a:extLst>
          </p:cNvPr>
          <p:cNvCxnSpPr>
            <a:cxnSpLocks/>
          </p:cNvCxnSpPr>
          <p:nvPr userDrawn="1"/>
        </p:nvCxnSpPr>
        <p:spPr>
          <a:xfrm>
            <a:off x="9772397" y="797296"/>
            <a:ext cx="197889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68123552-AD5A-BE44-9D1A-6A59A1ECF62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390708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01419B87-68DC-1A4C-A9F9-F4ECC210083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81016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57A669EE-3D1E-6447-ABA4-DD7FF20C1A7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792579" y="1727200"/>
            <a:ext cx="1956390" cy="45100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AEF3572F-6DBD-454B-A6F6-E1382E1B21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4361342" cy="45751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3F6F408C-A266-4E90-99B1-D06BCEE3A177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911B24E5-F7B4-4F7E-A55D-20FABBF73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2775" y="2127568"/>
            <a:ext cx="4348641" cy="401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AE78003B-C508-4826-B806-B6F55E205E1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53729" y="1741488"/>
            <a:ext cx="4357687" cy="294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490536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936ADA27-CEDF-41C7-A48F-06DB2227D1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5" y="1718244"/>
            <a:ext cx="11306175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349500"/>
            <a:ext cx="11306175" cy="38877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CB524C6F-854C-460E-B06B-DEA5F76FA89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1" y="1950439"/>
            <a:ext cx="11306175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9D8B7694-2E23-425B-B59B-6E1BDBDF4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85027861-F774-4395-BD3A-2AABE01A5A00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59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mage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C274D735-F031-C845-839C-9A10048D0899}"/>
              </a:ext>
            </a:extLst>
          </p:cNvPr>
          <p:cNvGrpSpPr/>
          <p:nvPr userDrawn="1"/>
        </p:nvGrpSpPr>
        <p:grpSpPr>
          <a:xfrm>
            <a:off x="-1" y="659219"/>
            <a:ext cx="12192001" cy="5497032"/>
            <a:chOff x="-1" y="659219"/>
            <a:chExt cx="12192001" cy="5497032"/>
          </a:xfrm>
          <a:solidFill>
            <a:schemeClr val="accent1"/>
          </a:solidFill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0E055A1B-3660-8D4E-84DE-9ECFF1C17D2C}"/>
                </a:ext>
              </a:extLst>
            </p:cNvPr>
            <p:cNvSpPr/>
            <p:nvPr userDrawn="1"/>
          </p:nvSpPr>
          <p:spPr>
            <a:xfrm>
              <a:off x="0" y="659219"/>
              <a:ext cx="12192000" cy="46251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FCFA1743-B97A-8445-9210-427788653070}"/>
                </a:ext>
              </a:extLst>
            </p:cNvPr>
            <p:cNvSpPr/>
            <p:nvPr userDrawn="1"/>
          </p:nvSpPr>
          <p:spPr>
            <a:xfrm>
              <a:off x="-1" y="1531089"/>
              <a:ext cx="6131441" cy="46251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A692D9AB-55D2-4FEF-AB87-63A37F188514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id="{29F681FB-F583-4820-AD17-9E9C1BDD22F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526BA127-0739-4BAE-A142-EF04EACFC741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2463B206-FC62-44A4-B652-071439897935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F57F08B7-24E5-4507-BECC-92162E75EA62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1">
            <a:extLst>
              <a:ext uri="{FF2B5EF4-FFF2-40B4-BE49-F238E27FC236}">
                <a16:creationId xmlns:a16="http://schemas.microsoft.com/office/drawing/2014/main" id="{42B533C6-BE4E-480D-9817-DDFD46B0ED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out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059B38A0-6D1E-4B68-9B1F-A751104EBB3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44931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5259386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9" name="Marcador de gráfico 3">
            <a:extLst>
              <a:ext uri="{FF2B5EF4-FFF2-40B4-BE49-F238E27FC236}">
                <a16:creationId xmlns:a16="http://schemas.microsoft.com/office/drawing/2014/main" id="{F883A945-8B98-4C8F-858C-D5C32AED72DC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6494142" y="2451100"/>
            <a:ext cx="5259386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1A5C95F-C931-41D7-B684-67E170CFB6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D54BF0D6-C959-4A80-81E5-2F5FB320AE6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70E2C192-9C51-40EA-BA3C-9FEF2008A7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3E18A105-92ED-4D3F-9172-E546994C2FB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803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r>
              <a:rPr lang="es-ES" dirty="0"/>
              <a:t>Graphic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91A5C95F-C931-41D7-B684-67E170CFB6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D54BF0D6-C959-4A80-81E5-2F5FB320AE6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4" name="Marcador de gráfico 3">
            <a:extLst>
              <a:ext uri="{FF2B5EF4-FFF2-40B4-BE49-F238E27FC236}">
                <a16:creationId xmlns:a16="http://schemas.microsoft.com/office/drawing/2014/main" id="{FFDE05C2-EC9B-41FE-A4E0-FD8CA733210B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61011E59-E135-4A46-B920-4EEAB72ECC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1986B9A0-C3FE-4058-9F5B-03EF81CE9C1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7" name="Marcador de gráfico 3">
            <a:extLst>
              <a:ext uri="{FF2B5EF4-FFF2-40B4-BE49-F238E27FC236}">
                <a16:creationId xmlns:a16="http://schemas.microsoft.com/office/drawing/2014/main" id="{5520C83F-30B6-4BCC-AB1D-1F75B0265E0E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451100"/>
            <a:ext cx="3609257" cy="378618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5DE466A1-7019-45C8-8C50-A9A774E7D09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B6ADAB0D-5732-4B9A-B577-C10E8BAD8A6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0213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gráfico 3">
            <a:extLst>
              <a:ext uri="{FF2B5EF4-FFF2-40B4-BE49-F238E27FC236}">
                <a16:creationId xmlns:a16="http://schemas.microsoft.com/office/drawing/2014/main" id="{A3C6F170-C4B2-4C33-B6E2-AFF0997A785E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46D3E3D1-894D-4B9F-AB65-2B96CBA30B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F719246B-170B-42F1-88B2-17957173217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6F7CACFD-F146-4B47-A48B-A39BC28D202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13BEE8BC-0AE4-4BD0-A17D-39192BB483C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3" name="Marcador de gráfico 3">
            <a:extLst>
              <a:ext uri="{FF2B5EF4-FFF2-40B4-BE49-F238E27FC236}">
                <a16:creationId xmlns:a16="http://schemas.microsoft.com/office/drawing/2014/main" id="{64F8FF50-291A-49EE-B380-42440B418EB4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649298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2" y="4466806"/>
            <a:ext cx="11309457" cy="178368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002422"/>
            <a:ext cx="11299916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234617"/>
            <a:ext cx="11299916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1612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arcador de gráfico 3">
            <a:extLst>
              <a:ext uri="{FF2B5EF4-FFF2-40B4-BE49-F238E27FC236}">
                <a16:creationId xmlns:a16="http://schemas.microsoft.com/office/drawing/2014/main" id="{A3C6F170-C4B2-4C33-B6E2-AFF0997A785E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46D3E3D1-894D-4B9F-AB65-2B96CBA30B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F719246B-170B-42F1-88B2-17957173217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59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6F7CACFD-F146-4B47-A48B-A39BC28D202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493195" y="1718244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13BEE8BC-0AE4-4BD0-A17D-39192BB483C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89541" y="1950439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3" name="Marcador de gráfico 3">
            <a:extLst>
              <a:ext uri="{FF2B5EF4-FFF2-40B4-BE49-F238E27FC236}">
                <a16:creationId xmlns:a16="http://schemas.microsoft.com/office/drawing/2014/main" id="{64F8FF50-291A-49EE-B380-42440B418EB4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6492985" y="2244420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B075E24F-C158-407F-B786-101AC02188C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3195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78210758-C83A-474B-AC73-6756E4891C7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89541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5" name="Marcador de gráfico 3">
            <a:extLst>
              <a:ext uri="{FF2B5EF4-FFF2-40B4-BE49-F238E27FC236}">
                <a16:creationId xmlns:a16="http://schemas.microsoft.com/office/drawing/2014/main" id="{CCB1F036-D17F-48BE-BE7D-D365A2356556}"/>
              </a:ext>
            </a:extLst>
          </p:cNvPr>
          <p:cNvSpPr>
            <a:spLocks noGrp="1"/>
          </p:cNvSpPr>
          <p:nvPr>
            <p:ph type="chart" sz="quarter" idx="76" hasCustomPrompt="1"/>
          </p:nvPr>
        </p:nvSpPr>
        <p:spPr>
          <a:xfrm>
            <a:off x="649298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58574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Marcador de gráfico 3">
            <a:extLst>
              <a:ext uri="{FF2B5EF4-FFF2-40B4-BE49-F238E27FC236}">
                <a16:creationId xmlns:a16="http://schemas.microsoft.com/office/drawing/2014/main" id="{74D79743-258A-4D18-A2F1-8E6B195CFAA5}"/>
              </a:ext>
            </a:extLst>
          </p:cNvPr>
          <p:cNvSpPr>
            <a:spLocks noGrp="1"/>
          </p:cNvSpPr>
          <p:nvPr>
            <p:ph type="chart" sz="quarter" idx="71" hasCustomPrompt="1"/>
          </p:nvPr>
        </p:nvSpPr>
        <p:spPr>
          <a:xfrm>
            <a:off x="44291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31" name="Marcador de texto 4">
            <a:extLst>
              <a:ext uri="{FF2B5EF4-FFF2-40B4-BE49-F238E27FC236}">
                <a16:creationId xmlns:a16="http://schemas.microsoft.com/office/drawing/2014/main" id="{0050668F-5439-4FD3-85DE-DF4D2D20DBA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A277DEB0-4EBC-4710-9FCA-3B255F86284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39259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B075E24F-C158-407F-B786-101AC02188C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3195" y="4173346"/>
            <a:ext cx="5254949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4" name="Marcador de texto 4">
            <a:extLst>
              <a:ext uri="{FF2B5EF4-FFF2-40B4-BE49-F238E27FC236}">
                <a16:creationId xmlns:a16="http://schemas.microsoft.com/office/drawing/2014/main" id="{78210758-C83A-474B-AC73-6756E4891C7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89541" y="4405541"/>
            <a:ext cx="5254949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35" name="Marcador de gráfico 3">
            <a:extLst>
              <a:ext uri="{FF2B5EF4-FFF2-40B4-BE49-F238E27FC236}">
                <a16:creationId xmlns:a16="http://schemas.microsoft.com/office/drawing/2014/main" id="{CCB1F036-D17F-48BE-BE7D-D365A2356556}"/>
              </a:ext>
            </a:extLst>
          </p:cNvPr>
          <p:cNvSpPr>
            <a:spLocks noGrp="1"/>
          </p:cNvSpPr>
          <p:nvPr>
            <p:ph type="chart" sz="quarter" idx="76" hasCustomPrompt="1"/>
          </p:nvPr>
        </p:nvSpPr>
        <p:spPr>
          <a:xfrm>
            <a:off x="6492985" y="4699522"/>
            <a:ext cx="5259386" cy="155096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17" name="Marcador de gráfico 3">
            <a:extLst>
              <a:ext uri="{FF2B5EF4-FFF2-40B4-BE49-F238E27FC236}">
                <a16:creationId xmlns:a16="http://schemas.microsoft.com/office/drawing/2014/main" id="{1BBED300-AE1D-4522-B424-4DF461F52876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5D6713AF-077E-4E2D-A27C-D9619792B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85ABDA6C-835E-4042-8B67-F99F2D15D02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5" name="Marcador de gráfico 3">
            <a:extLst>
              <a:ext uri="{FF2B5EF4-FFF2-40B4-BE49-F238E27FC236}">
                <a16:creationId xmlns:a16="http://schemas.microsoft.com/office/drawing/2014/main" id="{F74077C6-A545-4B50-B95B-26A6F86B5B68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E6E83DC-32BD-49D0-A082-494B760DB4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BE0BBE6B-A71A-481A-9330-42A564D0683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8" name="Marcador de gráfico 3">
            <a:extLst>
              <a:ext uri="{FF2B5EF4-FFF2-40B4-BE49-F238E27FC236}">
                <a16:creationId xmlns:a16="http://schemas.microsoft.com/office/drawing/2014/main" id="{23FF60E0-6A6C-4713-91EC-79101DBEED65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45110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64A3392-1A51-4783-B910-26BDD5D2062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6" name="Marcador de texto 4">
            <a:extLst>
              <a:ext uri="{FF2B5EF4-FFF2-40B4-BE49-F238E27FC236}">
                <a16:creationId xmlns:a16="http://schemas.microsoft.com/office/drawing/2014/main" id="{4ACAD040-4D07-4AD7-B2EB-1925E983328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5067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954469CA-02DC-4182-829B-3FE818ED7F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22ECEF-11FE-4236-8540-85F0730E8AA7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rcador de gráfico 3">
            <a:extLst>
              <a:ext uri="{FF2B5EF4-FFF2-40B4-BE49-F238E27FC236}">
                <a16:creationId xmlns:a16="http://schemas.microsoft.com/office/drawing/2014/main" id="{1BBED300-AE1D-4522-B424-4DF461F52876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442916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5D6713AF-077E-4E2D-A27C-D9619792B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85ABDA6C-835E-4042-8B67-F99F2D15D02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926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5" name="Marcador de gráfico 3">
            <a:extLst>
              <a:ext uri="{FF2B5EF4-FFF2-40B4-BE49-F238E27FC236}">
                <a16:creationId xmlns:a16="http://schemas.microsoft.com/office/drawing/2014/main" id="{F74077C6-A545-4B50-B95B-26A6F86B5B68}"/>
              </a:ext>
            </a:extLst>
          </p:cNvPr>
          <p:cNvSpPr>
            <a:spLocks noGrp="1"/>
          </p:cNvSpPr>
          <p:nvPr>
            <p:ph type="chart" sz="quarter" idx="67" hasCustomPrompt="1"/>
          </p:nvPr>
        </p:nvSpPr>
        <p:spPr>
          <a:xfrm>
            <a:off x="4297801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E6E83DC-32BD-49D0-A082-494B760DB46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801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BE0BBE6B-A71A-481A-9330-42A564D0683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4147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28" name="Marcador de gráfico 3">
            <a:extLst>
              <a:ext uri="{FF2B5EF4-FFF2-40B4-BE49-F238E27FC236}">
                <a16:creationId xmlns:a16="http://schemas.microsoft.com/office/drawing/2014/main" id="{23FF60E0-6A6C-4713-91EC-79101DBEED65}"/>
              </a:ext>
            </a:extLst>
          </p:cNvPr>
          <p:cNvSpPr>
            <a:spLocks noGrp="1"/>
          </p:cNvSpPr>
          <p:nvPr>
            <p:ph type="chart" sz="quarter" idx="70" hasCustomPrompt="1"/>
          </p:nvPr>
        </p:nvSpPr>
        <p:spPr>
          <a:xfrm>
            <a:off x="8152686" y="229108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64A3392-1A51-4783-B910-26BDD5D2062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52686" y="171824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36" name="Marcador de texto 4">
            <a:extLst>
              <a:ext uri="{FF2B5EF4-FFF2-40B4-BE49-F238E27FC236}">
                <a16:creationId xmlns:a16="http://schemas.microsoft.com/office/drawing/2014/main" id="{4ACAD040-4D07-4AD7-B2EB-1925E983328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49032" y="195043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2" name="Marcador de gráfico 3">
            <a:extLst>
              <a:ext uri="{FF2B5EF4-FFF2-40B4-BE49-F238E27FC236}">
                <a16:creationId xmlns:a16="http://schemas.microsoft.com/office/drawing/2014/main" id="{4E2E06AC-2387-4CA0-B018-BA38E75AD6AA}"/>
              </a:ext>
            </a:extLst>
          </p:cNvPr>
          <p:cNvSpPr>
            <a:spLocks noGrp="1"/>
          </p:cNvSpPr>
          <p:nvPr>
            <p:ph type="chart" sz="quarter" idx="79" hasCustomPrompt="1"/>
          </p:nvPr>
        </p:nvSpPr>
        <p:spPr>
          <a:xfrm>
            <a:off x="442916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3" name="Marcador de texto 4">
            <a:extLst>
              <a:ext uri="{FF2B5EF4-FFF2-40B4-BE49-F238E27FC236}">
                <a16:creationId xmlns:a16="http://schemas.microsoft.com/office/drawing/2014/main" id="{23EA909F-BF2E-47EA-8C08-CE7DA89662C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42916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44" name="Marcador de texto 4">
            <a:extLst>
              <a:ext uri="{FF2B5EF4-FFF2-40B4-BE49-F238E27FC236}">
                <a16:creationId xmlns:a16="http://schemas.microsoft.com/office/drawing/2014/main" id="{355E7AE0-BD93-46C5-BCC7-14BD463E075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39262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5" name="Marcador de gráfico 3">
            <a:extLst>
              <a:ext uri="{FF2B5EF4-FFF2-40B4-BE49-F238E27FC236}">
                <a16:creationId xmlns:a16="http://schemas.microsoft.com/office/drawing/2014/main" id="{08B65512-5B21-4DB0-8896-ACED07D4D643}"/>
              </a:ext>
            </a:extLst>
          </p:cNvPr>
          <p:cNvSpPr>
            <a:spLocks noGrp="1"/>
          </p:cNvSpPr>
          <p:nvPr>
            <p:ph type="chart" sz="quarter" idx="82" hasCustomPrompt="1"/>
          </p:nvPr>
        </p:nvSpPr>
        <p:spPr>
          <a:xfrm>
            <a:off x="4297801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6" name="Marcador de texto 4">
            <a:extLst>
              <a:ext uri="{FF2B5EF4-FFF2-40B4-BE49-F238E27FC236}">
                <a16:creationId xmlns:a16="http://schemas.microsoft.com/office/drawing/2014/main" id="{0FCA213A-23E7-436A-8D39-3824699B874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297801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id="{174F2109-187F-4250-8346-C1303B029EB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294147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48" name="Marcador de gráfico 3">
            <a:extLst>
              <a:ext uri="{FF2B5EF4-FFF2-40B4-BE49-F238E27FC236}">
                <a16:creationId xmlns:a16="http://schemas.microsoft.com/office/drawing/2014/main" id="{FF2F0CF8-9ABD-49EA-9DEB-9F32DA2BB682}"/>
              </a:ext>
            </a:extLst>
          </p:cNvPr>
          <p:cNvSpPr>
            <a:spLocks noGrp="1"/>
          </p:cNvSpPr>
          <p:nvPr>
            <p:ph type="chart" sz="quarter" idx="85" hasCustomPrompt="1"/>
          </p:nvPr>
        </p:nvSpPr>
        <p:spPr>
          <a:xfrm>
            <a:off x="8152686" y="4752340"/>
            <a:ext cx="3609257" cy="14895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49" name="Marcador de texto 4">
            <a:extLst>
              <a:ext uri="{FF2B5EF4-FFF2-40B4-BE49-F238E27FC236}">
                <a16:creationId xmlns:a16="http://schemas.microsoft.com/office/drawing/2014/main" id="{1B6AEDDD-1F36-41D0-BA5B-BEFE6F549DF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152686" y="4179504"/>
            <a:ext cx="3606212" cy="197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50" name="Marcador de texto 4">
            <a:extLst>
              <a:ext uri="{FF2B5EF4-FFF2-40B4-BE49-F238E27FC236}">
                <a16:creationId xmlns:a16="http://schemas.microsoft.com/office/drawing/2014/main" id="{D36423C6-ADB0-41A1-8BB4-4CBC237F923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149032" y="4411699"/>
            <a:ext cx="3606212" cy="1976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961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arcador de gráfico 3">
            <a:extLst>
              <a:ext uri="{FF2B5EF4-FFF2-40B4-BE49-F238E27FC236}">
                <a16:creationId xmlns:a16="http://schemas.microsoft.com/office/drawing/2014/main" id="{6C84E140-21FE-47BC-9BD8-48586AE28693}"/>
              </a:ext>
            </a:extLst>
          </p:cNvPr>
          <p:cNvSpPr>
            <a:spLocks noGrp="1"/>
          </p:cNvSpPr>
          <p:nvPr>
            <p:ph type="chart" sz="quarter" idx="65" hasCustomPrompt="1"/>
          </p:nvPr>
        </p:nvSpPr>
        <p:spPr>
          <a:xfrm>
            <a:off x="5375033" y="2362884"/>
            <a:ext cx="6374058" cy="38744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tx1"/>
                </a:solidFill>
                <a:latin typeface="Santander Text Light" panose="020B03040202010201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Graphic</a:t>
            </a:r>
          </a:p>
          <a:p>
            <a:endParaRPr lang="es-ES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48A6AA47-53C4-43F9-A7D8-EC6D26F9F78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375033" y="1709206"/>
            <a:ext cx="6378250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Graphic 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43AFF363-4C6C-4655-B054-694A479F33B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375277" y="2088365"/>
            <a:ext cx="6378251" cy="2357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Fuente Gráfico</a:t>
            </a: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52623ED4-9832-4D3C-86AB-17810BA959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088364"/>
            <a:ext cx="4348641" cy="4148927"/>
          </a:xfrm>
          <a:prstGeom prst="rect">
            <a:avLst/>
          </a:prstGeom>
        </p:spPr>
        <p:txBody>
          <a:bodyPr lIns="3600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547FB6A-B2A8-4E74-A1D0-4AA782A782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1AD67BA4-DD3E-4381-8163-BE129D67768D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6008DE5B-261B-4F01-907C-992D726D5A6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8102" y="1709206"/>
            <a:ext cx="4352256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3224189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48A6AA47-53C4-43F9-A7D8-EC6D26F9F78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375275" y="1718244"/>
            <a:ext cx="6378250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itle</a:t>
            </a:r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43AFF363-4C6C-4655-B054-694A479F33B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375277" y="2088365"/>
            <a:ext cx="6378251" cy="23573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5A0F4276-617C-4D27-90E7-83B5FBE89D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2773" y="5170282"/>
            <a:ext cx="1792292" cy="6658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550" baseline="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8D2C2761-CDB4-4DA9-B876-933C96254C8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2771" y="5869963"/>
            <a:ext cx="1792294" cy="356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38" baseline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AA63B073-320A-4355-B699-48658667B19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2773" y="4929224"/>
            <a:ext cx="1792295" cy="2410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63" b="0" baseline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Fact</a:t>
            </a:r>
            <a:endParaRPr lang="es-ES" dirty="0"/>
          </a:p>
        </p:txBody>
      </p:sp>
      <p:sp>
        <p:nvSpPr>
          <p:cNvPr id="12" name="Marcador de tabla 3">
            <a:extLst>
              <a:ext uri="{FF2B5EF4-FFF2-40B4-BE49-F238E27FC236}">
                <a16:creationId xmlns:a16="http://schemas.microsoft.com/office/drawing/2014/main" id="{AE2A4C76-F8EE-4514-92C7-7039A75D000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375275" y="2451104"/>
            <a:ext cx="6337300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able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CCD8D0B-6C7D-4974-8558-CE14C479FC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11309829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267847D2-84E8-49DF-A466-4EFCFD1F9529}"/>
              </a:ext>
            </a:extLst>
          </p:cNvPr>
          <p:cNvCxnSpPr>
            <a:cxnSpLocks/>
          </p:cNvCxnSpPr>
          <p:nvPr userDrawn="1"/>
        </p:nvCxnSpPr>
        <p:spPr>
          <a:xfrm>
            <a:off x="462775" y="797296"/>
            <a:ext cx="112863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F8073D5C-2859-4AA4-9C1C-2936C57AA0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961" y="2088362"/>
            <a:ext cx="4348641" cy="1839950"/>
          </a:xfrm>
          <a:prstGeom prst="rect">
            <a:avLst/>
          </a:prstGeom>
        </p:spPr>
        <p:txBody>
          <a:bodyPr lIns="3600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i="0" baseline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2EA63AC8-8AAF-42E8-9A2C-D7243285A80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8345" y="1718244"/>
            <a:ext cx="4352256" cy="2883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baseline="0">
                <a:solidFill>
                  <a:schemeClr val="tx1"/>
                </a:solidFill>
                <a:latin typeface="Santander Headline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aragraph title</a:t>
            </a:r>
          </a:p>
        </p:txBody>
      </p:sp>
    </p:spTree>
    <p:extLst>
      <p:ext uri="{BB962C8B-B14F-4D97-AF65-F5344CB8AC3E}">
        <p14:creationId xmlns:p14="http://schemas.microsoft.com/office/powerpoint/2010/main" val="4082844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6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A91E7ABF-0433-4394-8396-5538B9613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5275" y="949592"/>
            <a:ext cx="6361561" cy="1781855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685FE03-4869-4534-B839-559C997EE3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5275" y="3043360"/>
            <a:ext cx="6361561" cy="1451781"/>
          </a:xfrm>
          <a:prstGeom prst="rect">
            <a:avLst/>
          </a:prstGeom>
        </p:spPr>
        <p:txBody>
          <a:bodyPr lIns="0"/>
          <a:lstStyle>
            <a:lvl1pPr>
              <a:lnSpc>
                <a:spcPct val="120000"/>
              </a:lnSpc>
              <a:buClr>
                <a:schemeClr val="accent1"/>
              </a:buClr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557213" indent="-185738">
              <a:lnSpc>
                <a:spcPct val="120000"/>
              </a:lnSpc>
              <a:buClr>
                <a:schemeClr val="accent1"/>
              </a:buClr>
              <a:buFont typeface="Calibri" panose="020F0502020204030204" pitchFamily="34" charset="0"/>
              <a:buChar char="–"/>
              <a:defRPr sz="1200">
                <a:solidFill>
                  <a:schemeClr val="tx1"/>
                </a:solidFill>
                <a:latin typeface="Santander Text Light" panose="020B0304020201020104" pitchFamily="34" charset="0"/>
              </a:defRPr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id="{5A39879E-2A01-473D-8528-AB922992A2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75275" y="4812270"/>
            <a:ext cx="6361561" cy="875519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975"/>
              </a:spcAft>
              <a:buNone/>
              <a:defRPr sz="120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pattern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00BCC886-BD26-A54F-9C84-A80159F52E06}"/>
              </a:ext>
            </a:extLst>
          </p:cNvPr>
          <p:cNvCxnSpPr>
            <a:cxnSpLocks/>
          </p:cNvCxnSpPr>
          <p:nvPr userDrawn="1"/>
        </p:nvCxnSpPr>
        <p:spPr>
          <a:xfrm>
            <a:off x="5375020" y="794121"/>
            <a:ext cx="637407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id="{CA13477E-CF4E-4ED8-B98D-E4C6479A2E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259" y="939173"/>
            <a:ext cx="4361342" cy="51180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6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6B740C66-918D-4B8C-84FA-03A02C75119F}"/>
              </a:ext>
            </a:extLst>
          </p:cNvPr>
          <p:cNvCxnSpPr>
            <a:cxnSpLocks/>
          </p:cNvCxnSpPr>
          <p:nvPr userDrawn="1"/>
        </p:nvCxnSpPr>
        <p:spPr>
          <a:xfrm>
            <a:off x="462773" y="797296"/>
            <a:ext cx="435227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227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5">
            <a:extLst>
              <a:ext uri="{FF2B5EF4-FFF2-40B4-BE49-F238E27FC236}">
                <a16:creationId xmlns:a16="http://schemas.microsoft.com/office/drawing/2014/main" id="{E186EE22-9E95-4126-AB3D-0F81CC56F3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8" y="2708346"/>
            <a:ext cx="1960562" cy="2476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975"/>
              </a:spcAft>
              <a:buNone/>
              <a:defRPr sz="800" b="0" i="0">
                <a:solidFill>
                  <a:schemeClr val="tx1"/>
                </a:solidFill>
                <a:latin typeface="Santander Text" panose="020B05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5B3AABB-B53D-46B5-8727-95C585D257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8" y="2956000"/>
            <a:ext cx="11352212" cy="34352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25"/>
              </a:spcAft>
              <a:buNone/>
              <a:defRPr sz="800" b="0" i="0">
                <a:solidFill>
                  <a:schemeClr val="tx1"/>
                </a:solidFill>
                <a:latin typeface="Santander Text Light" panose="020B0304020201020104" pitchFamily="34" charset="0"/>
                <a:cs typeface="Arial" panose="020B0604020202020204" pitchFamily="34" charset="0"/>
              </a:defRPr>
            </a:lvl1pPr>
            <a:lvl2pPr marL="37147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22342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1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8F20059E-5452-476D-8A27-AB372DD43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6" t="39722" r="-2" b="12407"/>
          <a:stretch/>
        </p:blipFill>
        <p:spPr>
          <a:xfrm>
            <a:off x="-1" y="653147"/>
            <a:ext cx="12191999" cy="5507942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6B70D86C-2097-4806-9EA1-7E61F072D692}"/>
              </a:ext>
            </a:extLst>
          </p:cNvPr>
          <p:cNvSpPr/>
          <p:nvPr userDrawn="1"/>
        </p:nvSpPr>
        <p:spPr>
          <a:xfrm>
            <a:off x="0" y="653143"/>
            <a:ext cx="12009120" cy="5507944"/>
          </a:xfrm>
          <a:prstGeom prst="rect">
            <a:avLst/>
          </a:prstGeom>
          <a:gradFill flip="none" rotWithShape="1">
            <a:gsLst>
              <a:gs pos="58000">
                <a:schemeClr val="accent1">
                  <a:alpha val="45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15B0DE2-9C1F-4FE2-BC9A-BBD11BF04F13}"/>
              </a:ext>
            </a:extLst>
          </p:cNvPr>
          <p:cNvCxnSpPr>
            <a:cxnSpLocks/>
          </p:cNvCxnSpPr>
          <p:nvPr userDrawn="1"/>
        </p:nvCxnSpPr>
        <p:spPr>
          <a:xfrm>
            <a:off x="2115054" y="25403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F69D26ED-3F85-462E-9EFE-DC512FF2144D}"/>
              </a:ext>
            </a:extLst>
          </p:cNvPr>
          <p:cNvCxnSpPr>
            <a:cxnSpLocks/>
          </p:cNvCxnSpPr>
          <p:nvPr userDrawn="1"/>
        </p:nvCxnSpPr>
        <p:spPr>
          <a:xfrm>
            <a:off x="6147198" y="20891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ítulo 1">
            <a:extLst>
              <a:ext uri="{FF2B5EF4-FFF2-40B4-BE49-F238E27FC236}">
                <a16:creationId xmlns:a16="http://schemas.microsoft.com/office/drawing/2014/main" id="{98C0A169-A00F-4D40-8022-D66C231EE0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19361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1EBB1587-AF66-486A-B319-BB8EE2424E2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13682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67487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-12701" y="0"/>
            <a:ext cx="4655358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s-ES" dirty="0"/>
              <a:t>Haga </a:t>
            </a: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6" y="873128"/>
            <a:ext cx="2107342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F3B9D313-2516-4CAE-86F3-95C2C33742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981" y="273933"/>
            <a:ext cx="1031951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123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19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>
            <a:extLst>
              <a:ext uri="{FF2B5EF4-FFF2-40B4-BE49-F238E27FC236}">
                <a16:creationId xmlns:a16="http://schemas.microsoft.com/office/drawing/2014/main" id="{F44F3CA0-7517-8F4F-AF71-A5895CED3C96}"/>
              </a:ext>
            </a:extLst>
          </p:cNvPr>
          <p:cNvGrpSpPr/>
          <p:nvPr userDrawn="1"/>
        </p:nvGrpSpPr>
        <p:grpSpPr>
          <a:xfrm>
            <a:off x="4800602" y="0"/>
            <a:ext cx="7391399" cy="6858000"/>
            <a:chOff x="-756458" y="0"/>
            <a:chExt cx="4655357" cy="6858000"/>
          </a:xfrm>
          <a:solidFill>
            <a:schemeClr val="accent4"/>
          </a:solidFill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6A766C2A-B08D-9F43-840E-38F5BC7BC304}"/>
                </a:ext>
              </a:extLst>
            </p:cNvPr>
            <p:cNvSpPr/>
            <p:nvPr userDrawn="1"/>
          </p:nvSpPr>
          <p:spPr>
            <a:xfrm>
              <a:off x="-756458" y="0"/>
              <a:ext cx="4655357" cy="68580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09CD035-180A-0741-A5FA-BF96C110231A}"/>
                </a:ext>
              </a:extLst>
            </p:cNvPr>
            <p:cNvSpPr/>
            <p:nvPr userDrawn="1"/>
          </p:nvSpPr>
          <p:spPr>
            <a:xfrm>
              <a:off x="-756458" y="2273300"/>
              <a:ext cx="4069311" cy="4584700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 dirty="0"/>
            </a:p>
          </p:txBody>
        </p:sp>
      </p:grpSp>
      <p:sp>
        <p:nvSpPr>
          <p:cNvPr id="16" name="Subtítulo 2">
            <a:extLst>
              <a:ext uri="{FF2B5EF4-FFF2-40B4-BE49-F238E27FC236}">
                <a16:creationId xmlns:a16="http://schemas.microsoft.com/office/drawing/2014/main" id="{AF9BA34A-7FF8-4995-9217-09BBB6526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985" y="2115976"/>
            <a:ext cx="2593022" cy="740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spcBef>
                <a:spcPts val="813"/>
              </a:spcBef>
              <a:buNone/>
              <a:defRPr lang="es-ES" sz="1600">
                <a:solidFill>
                  <a:schemeClr val="tx1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s-ES" dirty="0"/>
              <a:t>Haga </a:t>
            </a:r>
            <a:r>
              <a:rPr lang="en-US" dirty="0"/>
              <a:t>Click to add a subtitl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18BAC8F4-287D-423D-999F-C4C983C334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985" y="873128"/>
            <a:ext cx="2040435" cy="113073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4000">
                <a:solidFill>
                  <a:schemeClr val="accent2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/>
              <a:t>Click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101234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CD7C8FD9-0F64-E105-AD01-1E72322786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"/>
            <a:ext cx="12192000" cy="6857531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86D69F9-71BD-9003-8D06-90DB4A19F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Gráfico 20">
            <a:extLst>
              <a:ext uri="{FF2B5EF4-FFF2-40B4-BE49-F238E27FC236}">
                <a16:creationId xmlns:a16="http://schemas.microsoft.com/office/drawing/2014/main" id="{F3A5A4CB-DF0B-8DF6-EDF3-C701B5F0E494}"/>
              </a:ext>
            </a:extLst>
          </p:cNvPr>
          <p:cNvSpPr/>
          <p:nvPr userDrawn="1"/>
        </p:nvSpPr>
        <p:spPr>
          <a:xfrm>
            <a:off x="9424988" y="573088"/>
            <a:ext cx="2189162" cy="592518"/>
          </a:xfrm>
          <a:custGeom>
            <a:avLst/>
            <a:gdLst>
              <a:gd name="connsiteX0" fmla="*/ 391413 w 1715044"/>
              <a:gd name="connsiteY0" fmla="*/ 400655 h 464193"/>
              <a:gd name="connsiteX1" fmla="*/ 339050 w 1715044"/>
              <a:gd name="connsiteY1" fmla="*/ 400655 h 464193"/>
              <a:gd name="connsiteX2" fmla="*/ 329223 w 1715044"/>
              <a:gd name="connsiteY2" fmla="*/ 429284 h 464193"/>
              <a:gd name="connsiteX3" fmla="*/ 316682 w 1715044"/>
              <a:gd name="connsiteY3" fmla="*/ 429284 h 464193"/>
              <a:gd name="connsiteX4" fmla="*/ 357515 w 1715044"/>
              <a:gd name="connsiteY4" fmla="*/ 312708 h 464193"/>
              <a:gd name="connsiteX5" fmla="*/ 372433 w 1715044"/>
              <a:gd name="connsiteY5" fmla="*/ 311183 h 464193"/>
              <a:gd name="connsiteX6" fmla="*/ 413781 w 1715044"/>
              <a:gd name="connsiteY6" fmla="*/ 429284 h 464193"/>
              <a:gd name="connsiteX7" fmla="*/ 401240 w 1715044"/>
              <a:gd name="connsiteY7" fmla="*/ 429284 h 464193"/>
              <a:gd name="connsiteX8" fmla="*/ 391413 w 1715044"/>
              <a:gd name="connsiteY8" fmla="*/ 400655 h 464193"/>
              <a:gd name="connsiteX9" fmla="*/ 387688 w 1715044"/>
              <a:gd name="connsiteY9" fmla="*/ 389462 h 464193"/>
              <a:gd name="connsiteX10" fmla="*/ 365320 w 1715044"/>
              <a:gd name="connsiteY10" fmla="*/ 323546 h 464193"/>
              <a:gd name="connsiteX11" fmla="*/ 342793 w 1715044"/>
              <a:gd name="connsiteY11" fmla="*/ 389462 h 464193"/>
              <a:gd name="connsiteX12" fmla="*/ 387688 w 1715044"/>
              <a:gd name="connsiteY12" fmla="*/ 389462 h 464193"/>
              <a:gd name="connsiteX13" fmla="*/ 421231 w 1715044"/>
              <a:gd name="connsiteY13" fmla="*/ 424708 h 464193"/>
              <a:gd name="connsiteX14" fmla="*/ 422934 w 1715044"/>
              <a:gd name="connsiteY14" fmla="*/ 414366 h 464193"/>
              <a:gd name="connsiteX15" fmla="*/ 450553 w 1715044"/>
              <a:gd name="connsiteY15" fmla="*/ 420983 h 464193"/>
              <a:gd name="connsiteX16" fmla="*/ 471555 w 1715044"/>
              <a:gd name="connsiteY16" fmla="*/ 407253 h 464193"/>
              <a:gd name="connsiteX17" fmla="*/ 454100 w 1715044"/>
              <a:gd name="connsiteY17" fmla="*/ 390987 h 464193"/>
              <a:gd name="connsiteX18" fmla="*/ 446313 w 1715044"/>
              <a:gd name="connsiteY18" fmla="*/ 388610 h 464193"/>
              <a:gd name="connsiteX19" fmla="*/ 422934 w 1715044"/>
              <a:gd name="connsiteY19" fmla="*/ 362854 h 464193"/>
              <a:gd name="connsiteX20" fmla="*/ 453604 w 1715044"/>
              <a:gd name="connsiteY20" fmla="*/ 339812 h 464193"/>
              <a:gd name="connsiteX21" fmla="*/ 480371 w 1715044"/>
              <a:gd name="connsiteY21" fmla="*/ 344211 h 464193"/>
              <a:gd name="connsiteX22" fmla="*/ 478668 w 1715044"/>
              <a:gd name="connsiteY22" fmla="*/ 354216 h 464193"/>
              <a:gd name="connsiteX23" fmla="*/ 453923 w 1715044"/>
              <a:gd name="connsiteY23" fmla="*/ 349976 h 464193"/>
              <a:gd name="connsiteX24" fmla="*/ 434269 w 1715044"/>
              <a:gd name="connsiteY24" fmla="*/ 362517 h 464193"/>
              <a:gd name="connsiteX25" fmla="*/ 451386 w 1715044"/>
              <a:gd name="connsiteY25" fmla="*/ 378446 h 464193"/>
              <a:gd name="connsiteX26" fmla="*/ 459351 w 1715044"/>
              <a:gd name="connsiteY26" fmla="*/ 381160 h 464193"/>
              <a:gd name="connsiteX27" fmla="*/ 483067 w 1715044"/>
              <a:gd name="connsiteY27" fmla="*/ 406916 h 464193"/>
              <a:gd name="connsiteX28" fmla="*/ 450872 w 1715044"/>
              <a:gd name="connsiteY28" fmla="*/ 431306 h 464193"/>
              <a:gd name="connsiteX29" fmla="*/ 421231 w 1715044"/>
              <a:gd name="connsiteY29" fmla="*/ 424708 h 464193"/>
              <a:gd name="connsiteX30" fmla="*/ 495271 w 1715044"/>
              <a:gd name="connsiteY30" fmla="*/ 424708 h 464193"/>
              <a:gd name="connsiteX31" fmla="*/ 496974 w 1715044"/>
              <a:gd name="connsiteY31" fmla="*/ 414366 h 464193"/>
              <a:gd name="connsiteX32" fmla="*/ 524592 w 1715044"/>
              <a:gd name="connsiteY32" fmla="*/ 420983 h 464193"/>
              <a:gd name="connsiteX33" fmla="*/ 545594 w 1715044"/>
              <a:gd name="connsiteY33" fmla="*/ 407253 h 464193"/>
              <a:gd name="connsiteX34" fmla="*/ 528140 w 1715044"/>
              <a:gd name="connsiteY34" fmla="*/ 390987 h 464193"/>
              <a:gd name="connsiteX35" fmla="*/ 520353 w 1715044"/>
              <a:gd name="connsiteY35" fmla="*/ 388610 h 464193"/>
              <a:gd name="connsiteX36" fmla="*/ 496974 w 1715044"/>
              <a:gd name="connsiteY36" fmla="*/ 362854 h 464193"/>
              <a:gd name="connsiteX37" fmla="*/ 527643 w 1715044"/>
              <a:gd name="connsiteY37" fmla="*/ 339812 h 464193"/>
              <a:gd name="connsiteX38" fmla="*/ 554410 w 1715044"/>
              <a:gd name="connsiteY38" fmla="*/ 344211 h 464193"/>
              <a:gd name="connsiteX39" fmla="*/ 552708 w 1715044"/>
              <a:gd name="connsiteY39" fmla="*/ 354216 h 464193"/>
              <a:gd name="connsiteX40" fmla="*/ 527963 w 1715044"/>
              <a:gd name="connsiteY40" fmla="*/ 349976 h 464193"/>
              <a:gd name="connsiteX41" fmla="*/ 508309 w 1715044"/>
              <a:gd name="connsiteY41" fmla="*/ 362517 h 464193"/>
              <a:gd name="connsiteX42" fmla="*/ 525426 w 1715044"/>
              <a:gd name="connsiteY42" fmla="*/ 378446 h 464193"/>
              <a:gd name="connsiteX43" fmla="*/ 533391 w 1715044"/>
              <a:gd name="connsiteY43" fmla="*/ 381160 h 464193"/>
              <a:gd name="connsiteX44" fmla="*/ 557107 w 1715044"/>
              <a:gd name="connsiteY44" fmla="*/ 406916 h 464193"/>
              <a:gd name="connsiteX45" fmla="*/ 524912 w 1715044"/>
              <a:gd name="connsiteY45" fmla="*/ 431306 h 464193"/>
              <a:gd name="connsiteX46" fmla="*/ 495271 w 1715044"/>
              <a:gd name="connsiteY46" fmla="*/ 424708 h 464193"/>
              <a:gd name="connsiteX47" fmla="*/ 642854 w 1715044"/>
              <a:gd name="connsiteY47" fmla="*/ 389639 h 464193"/>
              <a:gd name="connsiteX48" fmla="*/ 580166 w 1715044"/>
              <a:gd name="connsiteY48" fmla="*/ 389639 h 464193"/>
              <a:gd name="connsiteX49" fmla="*/ 611687 w 1715044"/>
              <a:gd name="connsiteY49" fmla="*/ 420823 h 464193"/>
              <a:gd name="connsiteX50" fmla="*/ 640157 w 1715044"/>
              <a:gd name="connsiteY50" fmla="*/ 413533 h 464193"/>
              <a:gd name="connsiteX51" fmla="*/ 638295 w 1715044"/>
              <a:gd name="connsiteY51" fmla="*/ 424885 h 464193"/>
              <a:gd name="connsiteX52" fmla="*/ 611350 w 1715044"/>
              <a:gd name="connsiteY52" fmla="*/ 431324 h 464193"/>
              <a:gd name="connsiteX53" fmla="*/ 568140 w 1715044"/>
              <a:gd name="connsiteY53" fmla="*/ 385063 h 464193"/>
              <a:gd name="connsiteX54" fmla="*/ 607288 w 1715044"/>
              <a:gd name="connsiteY54" fmla="*/ 339830 h 464193"/>
              <a:gd name="connsiteX55" fmla="*/ 643545 w 1715044"/>
              <a:gd name="connsiteY55" fmla="*/ 379138 h 464193"/>
              <a:gd name="connsiteX56" fmla="*/ 642854 w 1715044"/>
              <a:gd name="connsiteY56" fmla="*/ 389639 h 464193"/>
              <a:gd name="connsiteX57" fmla="*/ 580166 w 1715044"/>
              <a:gd name="connsiteY57" fmla="*/ 378961 h 464193"/>
              <a:gd name="connsiteX58" fmla="*/ 631678 w 1715044"/>
              <a:gd name="connsiteY58" fmla="*/ 378961 h 464193"/>
              <a:gd name="connsiteX59" fmla="*/ 631678 w 1715044"/>
              <a:gd name="connsiteY59" fmla="*/ 378287 h 464193"/>
              <a:gd name="connsiteX60" fmla="*/ 606774 w 1715044"/>
              <a:gd name="connsiteY60" fmla="*/ 350154 h 464193"/>
              <a:gd name="connsiteX61" fmla="*/ 580166 w 1715044"/>
              <a:gd name="connsiteY61" fmla="*/ 378961 h 464193"/>
              <a:gd name="connsiteX62" fmla="*/ 704193 w 1715044"/>
              <a:gd name="connsiteY62" fmla="*/ 418446 h 464193"/>
              <a:gd name="connsiteX63" fmla="*/ 702667 w 1715044"/>
              <a:gd name="connsiteY63" fmla="*/ 428610 h 464193"/>
              <a:gd name="connsiteX64" fmla="*/ 687412 w 1715044"/>
              <a:gd name="connsiteY64" fmla="*/ 431324 h 464193"/>
              <a:gd name="connsiteX65" fmla="*/ 661142 w 1715044"/>
              <a:gd name="connsiteY65" fmla="*/ 404220 h 464193"/>
              <a:gd name="connsiteX66" fmla="*/ 661142 w 1715044"/>
              <a:gd name="connsiteY66" fmla="*/ 312903 h 464193"/>
              <a:gd name="connsiteX67" fmla="*/ 673009 w 1715044"/>
              <a:gd name="connsiteY67" fmla="*/ 311041 h 464193"/>
              <a:gd name="connsiteX68" fmla="*/ 673009 w 1715044"/>
              <a:gd name="connsiteY68" fmla="*/ 342384 h 464193"/>
              <a:gd name="connsiteX69" fmla="*/ 703678 w 1715044"/>
              <a:gd name="connsiteY69" fmla="*/ 342384 h 464193"/>
              <a:gd name="connsiteX70" fmla="*/ 702490 w 1715044"/>
              <a:gd name="connsiteY70" fmla="*/ 353063 h 464193"/>
              <a:gd name="connsiteX71" fmla="*/ 673009 w 1715044"/>
              <a:gd name="connsiteY71" fmla="*/ 353063 h 464193"/>
              <a:gd name="connsiteX72" fmla="*/ 673009 w 1715044"/>
              <a:gd name="connsiteY72" fmla="*/ 402872 h 464193"/>
              <a:gd name="connsiteX73" fmla="*/ 689452 w 1715044"/>
              <a:gd name="connsiteY73" fmla="*/ 421178 h 464193"/>
              <a:gd name="connsiteX74" fmla="*/ 704193 w 1715044"/>
              <a:gd name="connsiteY74" fmla="*/ 418446 h 464193"/>
              <a:gd name="connsiteX75" fmla="*/ 870241 w 1715044"/>
              <a:gd name="connsiteY75" fmla="*/ 429284 h 464193"/>
              <a:gd name="connsiteX76" fmla="*/ 857877 w 1715044"/>
              <a:gd name="connsiteY76" fmla="*/ 429284 h 464193"/>
              <a:gd name="connsiteX77" fmla="*/ 854312 w 1715044"/>
              <a:gd name="connsiteY77" fmla="*/ 376247 h 464193"/>
              <a:gd name="connsiteX78" fmla="*/ 851935 w 1715044"/>
              <a:gd name="connsiteY78" fmla="*/ 328797 h 464193"/>
              <a:gd name="connsiteX79" fmla="*/ 832103 w 1715044"/>
              <a:gd name="connsiteY79" fmla="*/ 380468 h 464193"/>
              <a:gd name="connsiteX80" fmla="*/ 812449 w 1715044"/>
              <a:gd name="connsiteY80" fmla="*/ 429266 h 464193"/>
              <a:gd name="connsiteX81" fmla="*/ 803474 w 1715044"/>
              <a:gd name="connsiteY81" fmla="*/ 429266 h 464193"/>
              <a:gd name="connsiteX82" fmla="*/ 782472 w 1715044"/>
              <a:gd name="connsiteY82" fmla="*/ 375892 h 464193"/>
              <a:gd name="connsiteX83" fmla="*/ 764858 w 1715044"/>
              <a:gd name="connsiteY83" fmla="*/ 328956 h 464193"/>
              <a:gd name="connsiteX84" fmla="*/ 761984 w 1715044"/>
              <a:gd name="connsiteY84" fmla="*/ 377240 h 464193"/>
              <a:gd name="connsiteX85" fmla="*/ 757922 w 1715044"/>
              <a:gd name="connsiteY85" fmla="*/ 429249 h 464193"/>
              <a:gd name="connsiteX86" fmla="*/ 745718 w 1715044"/>
              <a:gd name="connsiteY86" fmla="*/ 429249 h 464193"/>
              <a:gd name="connsiteX87" fmla="*/ 754871 w 1715044"/>
              <a:gd name="connsiteY87" fmla="*/ 312673 h 464193"/>
              <a:gd name="connsiteX88" fmla="*/ 769434 w 1715044"/>
              <a:gd name="connsiteY88" fmla="*/ 310810 h 464193"/>
              <a:gd name="connsiteX89" fmla="*/ 808228 w 1715044"/>
              <a:gd name="connsiteY89" fmla="*/ 410606 h 464193"/>
              <a:gd name="connsiteX90" fmla="*/ 846525 w 1715044"/>
              <a:gd name="connsiteY90" fmla="*/ 312673 h 464193"/>
              <a:gd name="connsiteX91" fmla="*/ 861443 w 1715044"/>
              <a:gd name="connsiteY91" fmla="*/ 310810 h 464193"/>
              <a:gd name="connsiteX92" fmla="*/ 870241 w 1715044"/>
              <a:gd name="connsiteY92" fmla="*/ 429284 h 464193"/>
              <a:gd name="connsiteX93" fmla="*/ 960369 w 1715044"/>
              <a:gd name="connsiteY93" fmla="*/ 344566 h 464193"/>
              <a:gd name="connsiteX94" fmla="*/ 960369 w 1715044"/>
              <a:gd name="connsiteY94" fmla="*/ 429284 h 464193"/>
              <a:gd name="connsiteX95" fmla="*/ 949354 w 1715044"/>
              <a:gd name="connsiteY95" fmla="*/ 429284 h 464193"/>
              <a:gd name="connsiteX96" fmla="*/ 949016 w 1715044"/>
              <a:gd name="connsiteY96" fmla="*/ 422686 h 464193"/>
              <a:gd name="connsiteX97" fmla="*/ 925974 w 1715044"/>
              <a:gd name="connsiteY97" fmla="*/ 431324 h 464193"/>
              <a:gd name="connsiteX98" fmla="*/ 887003 w 1715044"/>
              <a:gd name="connsiteY98" fmla="*/ 386251 h 464193"/>
              <a:gd name="connsiteX99" fmla="*/ 932076 w 1715044"/>
              <a:gd name="connsiteY99" fmla="*/ 339830 h 464193"/>
              <a:gd name="connsiteX100" fmla="*/ 960369 w 1715044"/>
              <a:gd name="connsiteY100" fmla="*/ 344566 h 464193"/>
              <a:gd name="connsiteX101" fmla="*/ 927003 w 1715044"/>
              <a:gd name="connsiteY101" fmla="*/ 421497 h 464193"/>
              <a:gd name="connsiteX102" fmla="*/ 948520 w 1715044"/>
              <a:gd name="connsiteY102" fmla="*/ 412859 h 464193"/>
              <a:gd name="connsiteX103" fmla="*/ 948520 w 1715044"/>
              <a:gd name="connsiteY103" fmla="*/ 352371 h 464193"/>
              <a:gd name="connsiteX104" fmla="*/ 932076 w 1715044"/>
              <a:gd name="connsiteY104" fmla="*/ 350331 h 464193"/>
              <a:gd name="connsiteX105" fmla="*/ 899030 w 1715044"/>
              <a:gd name="connsiteY105" fmla="*/ 386251 h 464193"/>
              <a:gd name="connsiteX106" fmla="*/ 927003 w 1715044"/>
              <a:gd name="connsiteY106" fmla="*/ 421497 h 464193"/>
              <a:gd name="connsiteX107" fmla="*/ 1053566 w 1715044"/>
              <a:gd name="connsiteY107" fmla="*/ 372007 h 464193"/>
              <a:gd name="connsiteX108" fmla="*/ 1053566 w 1715044"/>
              <a:gd name="connsiteY108" fmla="*/ 429284 h 464193"/>
              <a:gd name="connsiteX109" fmla="*/ 1041699 w 1715044"/>
              <a:gd name="connsiteY109" fmla="*/ 429284 h 464193"/>
              <a:gd name="connsiteX110" fmla="*/ 1041699 w 1715044"/>
              <a:gd name="connsiteY110" fmla="*/ 374225 h 464193"/>
              <a:gd name="connsiteX111" fmla="*/ 1014932 w 1715044"/>
              <a:gd name="connsiteY111" fmla="*/ 350331 h 464193"/>
              <a:gd name="connsiteX112" fmla="*/ 995278 w 1715044"/>
              <a:gd name="connsiteY112" fmla="*/ 352708 h 464193"/>
              <a:gd name="connsiteX113" fmla="*/ 995278 w 1715044"/>
              <a:gd name="connsiteY113" fmla="*/ 429284 h 464193"/>
              <a:gd name="connsiteX114" fmla="*/ 983411 w 1715044"/>
              <a:gd name="connsiteY114" fmla="*/ 429284 h 464193"/>
              <a:gd name="connsiteX115" fmla="*/ 983411 w 1715044"/>
              <a:gd name="connsiteY115" fmla="*/ 344566 h 464193"/>
              <a:gd name="connsiteX116" fmla="*/ 1015269 w 1715044"/>
              <a:gd name="connsiteY116" fmla="*/ 339830 h 464193"/>
              <a:gd name="connsiteX117" fmla="*/ 1053566 w 1715044"/>
              <a:gd name="connsiteY117" fmla="*/ 372007 h 464193"/>
              <a:gd name="connsiteX118" fmla="*/ 1144386 w 1715044"/>
              <a:gd name="connsiteY118" fmla="*/ 344566 h 464193"/>
              <a:gd name="connsiteX119" fmla="*/ 1144386 w 1715044"/>
              <a:gd name="connsiteY119" fmla="*/ 429284 h 464193"/>
              <a:gd name="connsiteX120" fmla="*/ 1133371 w 1715044"/>
              <a:gd name="connsiteY120" fmla="*/ 429284 h 464193"/>
              <a:gd name="connsiteX121" fmla="*/ 1133034 w 1715044"/>
              <a:gd name="connsiteY121" fmla="*/ 422686 h 464193"/>
              <a:gd name="connsiteX122" fmla="*/ 1109992 w 1715044"/>
              <a:gd name="connsiteY122" fmla="*/ 431324 h 464193"/>
              <a:gd name="connsiteX123" fmla="*/ 1071020 w 1715044"/>
              <a:gd name="connsiteY123" fmla="*/ 386251 h 464193"/>
              <a:gd name="connsiteX124" fmla="*/ 1116094 w 1715044"/>
              <a:gd name="connsiteY124" fmla="*/ 339830 h 464193"/>
              <a:gd name="connsiteX125" fmla="*/ 1144386 w 1715044"/>
              <a:gd name="connsiteY125" fmla="*/ 344566 h 464193"/>
              <a:gd name="connsiteX126" fmla="*/ 1111003 w 1715044"/>
              <a:gd name="connsiteY126" fmla="*/ 421497 h 464193"/>
              <a:gd name="connsiteX127" fmla="*/ 1132519 w 1715044"/>
              <a:gd name="connsiteY127" fmla="*/ 412859 h 464193"/>
              <a:gd name="connsiteX128" fmla="*/ 1132519 w 1715044"/>
              <a:gd name="connsiteY128" fmla="*/ 352371 h 464193"/>
              <a:gd name="connsiteX129" fmla="*/ 1116094 w 1715044"/>
              <a:gd name="connsiteY129" fmla="*/ 350331 h 464193"/>
              <a:gd name="connsiteX130" fmla="*/ 1083047 w 1715044"/>
              <a:gd name="connsiteY130" fmla="*/ 386251 h 464193"/>
              <a:gd name="connsiteX131" fmla="*/ 1111003 w 1715044"/>
              <a:gd name="connsiteY131" fmla="*/ 421497 h 464193"/>
              <a:gd name="connsiteX132" fmla="*/ 1236217 w 1715044"/>
              <a:gd name="connsiteY132" fmla="*/ 344566 h 464193"/>
              <a:gd name="connsiteX133" fmla="*/ 1236217 w 1715044"/>
              <a:gd name="connsiteY133" fmla="*/ 426074 h 464193"/>
              <a:gd name="connsiteX134" fmla="*/ 1195561 w 1715044"/>
              <a:gd name="connsiteY134" fmla="*/ 464193 h 464193"/>
              <a:gd name="connsiteX135" fmla="*/ 1170142 w 1715044"/>
              <a:gd name="connsiteY135" fmla="*/ 459280 h 464193"/>
              <a:gd name="connsiteX136" fmla="*/ 1171331 w 1715044"/>
              <a:gd name="connsiteY136" fmla="*/ 448779 h 464193"/>
              <a:gd name="connsiteX137" fmla="*/ 1195561 w 1715044"/>
              <a:gd name="connsiteY137" fmla="*/ 454029 h 464193"/>
              <a:gd name="connsiteX138" fmla="*/ 1224368 w 1715044"/>
              <a:gd name="connsiteY138" fmla="*/ 427599 h 464193"/>
              <a:gd name="connsiteX139" fmla="*/ 1224368 w 1715044"/>
              <a:gd name="connsiteY139" fmla="*/ 423023 h 464193"/>
              <a:gd name="connsiteX140" fmla="*/ 1201840 w 1715044"/>
              <a:gd name="connsiteY140" fmla="*/ 431324 h 464193"/>
              <a:gd name="connsiteX141" fmla="*/ 1162869 w 1715044"/>
              <a:gd name="connsiteY141" fmla="*/ 386251 h 464193"/>
              <a:gd name="connsiteX142" fmla="*/ 1207942 w 1715044"/>
              <a:gd name="connsiteY142" fmla="*/ 339830 h 464193"/>
              <a:gd name="connsiteX143" fmla="*/ 1236217 w 1715044"/>
              <a:gd name="connsiteY143" fmla="*/ 344566 h 464193"/>
              <a:gd name="connsiteX144" fmla="*/ 1224350 w 1715044"/>
              <a:gd name="connsiteY144" fmla="*/ 412841 h 464193"/>
              <a:gd name="connsiteX145" fmla="*/ 1224350 w 1715044"/>
              <a:gd name="connsiteY145" fmla="*/ 352353 h 464193"/>
              <a:gd name="connsiteX146" fmla="*/ 1207907 w 1715044"/>
              <a:gd name="connsiteY146" fmla="*/ 350313 h 464193"/>
              <a:gd name="connsiteX147" fmla="*/ 1174860 w 1715044"/>
              <a:gd name="connsiteY147" fmla="*/ 386233 h 464193"/>
              <a:gd name="connsiteX148" fmla="*/ 1202816 w 1715044"/>
              <a:gd name="connsiteY148" fmla="*/ 421479 h 464193"/>
              <a:gd name="connsiteX149" fmla="*/ 1224350 w 1715044"/>
              <a:gd name="connsiteY149" fmla="*/ 412841 h 464193"/>
              <a:gd name="connsiteX150" fmla="*/ 1325352 w 1715044"/>
              <a:gd name="connsiteY150" fmla="*/ 389639 h 464193"/>
              <a:gd name="connsiteX151" fmla="*/ 1262665 w 1715044"/>
              <a:gd name="connsiteY151" fmla="*/ 389639 h 464193"/>
              <a:gd name="connsiteX152" fmla="*/ 1294186 w 1715044"/>
              <a:gd name="connsiteY152" fmla="*/ 420823 h 464193"/>
              <a:gd name="connsiteX153" fmla="*/ 1322656 w 1715044"/>
              <a:gd name="connsiteY153" fmla="*/ 413533 h 464193"/>
              <a:gd name="connsiteX154" fmla="*/ 1320793 w 1715044"/>
              <a:gd name="connsiteY154" fmla="*/ 424885 h 464193"/>
              <a:gd name="connsiteX155" fmla="*/ 1293849 w 1715044"/>
              <a:gd name="connsiteY155" fmla="*/ 431324 h 464193"/>
              <a:gd name="connsiteX156" fmla="*/ 1250638 w 1715044"/>
              <a:gd name="connsiteY156" fmla="*/ 385063 h 464193"/>
              <a:gd name="connsiteX157" fmla="*/ 1289769 w 1715044"/>
              <a:gd name="connsiteY157" fmla="*/ 339830 h 464193"/>
              <a:gd name="connsiteX158" fmla="*/ 1326026 w 1715044"/>
              <a:gd name="connsiteY158" fmla="*/ 379138 h 464193"/>
              <a:gd name="connsiteX159" fmla="*/ 1325352 w 1715044"/>
              <a:gd name="connsiteY159" fmla="*/ 389639 h 464193"/>
              <a:gd name="connsiteX160" fmla="*/ 1262647 w 1715044"/>
              <a:gd name="connsiteY160" fmla="*/ 378961 h 464193"/>
              <a:gd name="connsiteX161" fmla="*/ 1314159 w 1715044"/>
              <a:gd name="connsiteY161" fmla="*/ 378961 h 464193"/>
              <a:gd name="connsiteX162" fmla="*/ 1314159 w 1715044"/>
              <a:gd name="connsiteY162" fmla="*/ 378287 h 464193"/>
              <a:gd name="connsiteX163" fmla="*/ 1289255 w 1715044"/>
              <a:gd name="connsiteY163" fmla="*/ 350154 h 464193"/>
              <a:gd name="connsiteX164" fmla="*/ 1262647 w 1715044"/>
              <a:gd name="connsiteY164" fmla="*/ 378961 h 464193"/>
              <a:gd name="connsiteX165" fmla="*/ 1470043 w 1715044"/>
              <a:gd name="connsiteY165" fmla="*/ 372007 h 464193"/>
              <a:gd name="connsiteX166" fmla="*/ 1470043 w 1715044"/>
              <a:gd name="connsiteY166" fmla="*/ 429284 h 464193"/>
              <a:gd name="connsiteX167" fmla="*/ 1458176 w 1715044"/>
              <a:gd name="connsiteY167" fmla="*/ 429284 h 464193"/>
              <a:gd name="connsiteX168" fmla="*/ 1458176 w 1715044"/>
              <a:gd name="connsiteY168" fmla="*/ 373888 h 464193"/>
              <a:gd name="connsiteX169" fmla="*/ 1433272 w 1715044"/>
              <a:gd name="connsiteY169" fmla="*/ 350331 h 464193"/>
              <a:gd name="connsiteX170" fmla="*/ 1410744 w 1715044"/>
              <a:gd name="connsiteY170" fmla="*/ 355245 h 464193"/>
              <a:gd name="connsiteX171" fmla="*/ 1413618 w 1715044"/>
              <a:gd name="connsiteY171" fmla="*/ 372025 h 464193"/>
              <a:gd name="connsiteX172" fmla="*/ 1413618 w 1715044"/>
              <a:gd name="connsiteY172" fmla="*/ 429302 h 464193"/>
              <a:gd name="connsiteX173" fmla="*/ 1401751 w 1715044"/>
              <a:gd name="connsiteY173" fmla="*/ 429302 h 464193"/>
              <a:gd name="connsiteX174" fmla="*/ 1401751 w 1715044"/>
              <a:gd name="connsiteY174" fmla="*/ 373550 h 464193"/>
              <a:gd name="connsiteX175" fmla="*/ 1376846 w 1715044"/>
              <a:gd name="connsiteY175" fmla="*/ 350331 h 464193"/>
              <a:gd name="connsiteX176" fmla="*/ 1356518 w 1715044"/>
              <a:gd name="connsiteY176" fmla="*/ 352708 h 464193"/>
              <a:gd name="connsiteX177" fmla="*/ 1356518 w 1715044"/>
              <a:gd name="connsiteY177" fmla="*/ 429284 h 464193"/>
              <a:gd name="connsiteX178" fmla="*/ 1344651 w 1715044"/>
              <a:gd name="connsiteY178" fmla="*/ 429284 h 464193"/>
              <a:gd name="connsiteX179" fmla="*/ 1344651 w 1715044"/>
              <a:gd name="connsiteY179" fmla="*/ 344566 h 464193"/>
              <a:gd name="connsiteX180" fmla="*/ 1378035 w 1715044"/>
              <a:gd name="connsiteY180" fmla="*/ 339830 h 464193"/>
              <a:gd name="connsiteX181" fmla="*/ 1404642 w 1715044"/>
              <a:gd name="connsiteY181" fmla="*/ 346943 h 464193"/>
              <a:gd name="connsiteX182" fmla="*/ 1434301 w 1715044"/>
              <a:gd name="connsiteY182" fmla="*/ 339830 h 464193"/>
              <a:gd name="connsiteX183" fmla="*/ 1470043 w 1715044"/>
              <a:gd name="connsiteY183" fmla="*/ 372007 h 464193"/>
              <a:gd name="connsiteX184" fmla="*/ 1561538 w 1715044"/>
              <a:gd name="connsiteY184" fmla="*/ 389639 h 464193"/>
              <a:gd name="connsiteX185" fmla="*/ 1498850 w 1715044"/>
              <a:gd name="connsiteY185" fmla="*/ 389639 h 464193"/>
              <a:gd name="connsiteX186" fmla="*/ 1530371 w 1715044"/>
              <a:gd name="connsiteY186" fmla="*/ 420823 h 464193"/>
              <a:gd name="connsiteX187" fmla="*/ 1558841 w 1715044"/>
              <a:gd name="connsiteY187" fmla="*/ 413533 h 464193"/>
              <a:gd name="connsiteX188" fmla="*/ 1556979 w 1715044"/>
              <a:gd name="connsiteY188" fmla="*/ 424885 h 464193"/>
              <a:gd name="connsiteX189" fmla="*/ 1530034 w 1715044"/>
              <a:gd name="connsiteY189" fmla="*/ 431324 h 464193"/>
              <a:gd name="connsiteX190" fmla="*/ 1486824 w 1715044"/>
              <a:gd name="connsiteY190" fmla="*/ 385063 h 464193"/>
              <a:gd name="connsiteX191" fmla="*/ 1525972 w 1715044"/>
              <a:gd name="connsiteY191" fmla="*/ 339830 h 464193"/>
              <a:gd name="connsiteX192" fmla="*/ 1562229 w 1715044"/>
              <a:gd name="connsiteY192" fmla="*/ 379138 h 464193"/>
              <a:gd name="connsiteX193" fmla="*/ 1561538 w 1715044"/>
              <a:gd name="connsiteY193" fmla="*/ 389639 h 464193"/>
              <a:gd name="connsiteX194" fmla="*/ 1498850 w 1715044"/>
              <a:gd name="connsiteY194" fmla="*/ 378961 h 464193"/>
              <a:gd name="connsiteX195" fmla="*/ 1550362 w 1715044"/>
              <a:gd name="connsiteY195" fmla="*/ 378961 h 464193"/>
              <a:gd name="connsiteX196" fmla="*/ 1550362 w 1715044"/>
              <a:gd name="connsiteY196" fmla="*/ 378287 h 464193"/>
              <a:gd name="connsiteX197" fmla="*/ 1525458 w 1715044"/>
              <a:gd name="connsiteY197" fmla="*/ 350154 h 464193"/>
              <a:gd name="connsiteX198" fmla="*/ 1498850 w 1715044"/>
              <a:gd name="connsiteY198" fmla="*/ 378961 h 464193"/>
              <a:gd name="connsiteX199" fmla="*/ 1650992 w 1715044"/>
              <a:gd name="connsiteY199" fmla="*/ 372007 h 464193"/>
              <a:gd name="connsiteX200" fmla="*/ 1650992 w 1715044"/>
              <a:gd name="connsiteY200" fmla="*/ 429284 h 464193"/>
              <a:gd name="connsiteX201" fmla="*/ 1639125 w 1715044"/>
              <a:gd name="connsiteY201" fmla="*/ 429284 h 464193"/>
              <a:gd name="connsiteX202" fmla="*/ 1639125 w 1715044"/>
              <a:gd name="connsiteY202" fmla="*/ 374225 h 464193"/>
              <a:gd name="connsiteX203" fmla="*/ 1612358 w 1715044"/>
              <a:gd name="connsiteY203" fmla="*/ 350331 h 464193"/>
              <a:gd name="connsiteX204" fmla="*/ 1592704 w 1715044"/>
              <a:gd name="connsiteY204" fmla="*/ 352708 h 464193"/>
              <a:gd name="connsiteX205" fmla="*/ 1592704 w 1715044"/>
              <a:gd name="connsiteY205" fmla="*/ 429284 h 464193"/>
              <a:gd name="connsiteX206" fmla="*/ 1580837 w 1715044"/>
              <a:gd name="connsiteY206" fmla="*/ 429284 h 464193"/>
              <a:gd name="connsiteX207" fmla="*/ 1580837 w 1715044"/>
              <a:gd name="connsiteY207" fmla="*/ 344566 h 464193"/>
              <a:gd name="connsiteX208" fmla="*/ 1612695 w 1715044"/>
              <a:gd name="connsiteY208" fmla="*/ 339830 h 464193"/>
              <a:gd name="connsiteX209" fmla="*/ 1650992 w 1715044"/>
              <a:gd name="connsiteY209" fmla="*/ 372007 h 464193"/>
              <a:gd name="connsiteX210" fmla="*/ 1715045 w 1715044"/>
              <a:gd name="connsiteY210" fmla="*/ 418446 h 464193"/>
              <a:gd name="connsiteX211" fmla="*/ 1713519 w 1715044"/>
              <a:gd name="connsiteY211" fmla="*/ 428610 h 464193"/>
              <a:gd name="connsiteX212" fmla="*/ 1698264 w 1715044"/>
              <a:gd name="connsiteY212" fmla="*/ 431324 h 464193"/>
              <a:gd name="connsiteX213" fmla="*/ 1671994 w 1715044"/>
              <a:gd name="connsiteY213" fmla="*/ 404220 h 464193"/>
              <a:gd name="connsiteX214" fmla="*/ 1671994 w 1715044"/>
              <a:gd name="connsiteY214" fmla="*/ 312903 h 464193"/>
              <a:gd name="connsiteX215" fmla="*/ 1683861 w 1715044"/>
              <a:gd name="connsiteY215" fmla="*/ 311041 h 464193"/>
              <a:gd name="connsiteX216" fmla="*/ 1683861 w 1715044"/>
              <a:gd name="connsiteY216" fmla="*/ 342384 h 464193"/>
              <a:gd name="connsiteX217" fmla="*/ 1714530 w 1715044"/>
              <a:gd name="connsiteY217" fmla="*/ 342384 h 464193"/>
              <a:gd name="connsiteX218" fmla="*/ 1713342 w 1715044"/>
              <a:gd name="connsiteY218" fmla="*/ 353063 h 464193"/>
              <a:gd name="connsiteX219" fmla="*/ 1683861 w 1715044"/>
              <a:gd name="connsiteY219" fmla="*/ 353063 h 464193"/>
              <a:gd name="connsiteX220" fmla="*/ 1683861 w 1715044"/>
              <a:gd name="connsiteY220" fmla="*/ 402872 h 464193"/>
              <a:gd name="connsiteX221" fmla="*/ 1700304 w 1715044"/>
              <a:gd name="connsiteY221" fmla="*/ 421178 h 464193"/>
              <a:gd name="connsiteX222" fmla="*/ 1715045 w 1715044"/>
              <a:gd name="connsiteY222" fmla="*/ 418446 h 464193"/>
              <a:gd name="connsiteX223" fmla="*/ 190935 w 1715044"/>
              <a:gd name="connsiteY223" fmla="*/ 116097 h 464193"/>
              <a:gd name="connsiteX224" fmla="*/ 183254 w 1715044"/>
              <a:gd name="connsiteY224" fmla="*/ 89720 h 464193"/>
              <a:gd name="connsiteX225" fmla="*/ 141534 w 1715044"/>
              <a:gd name="connsiteY225" fmla="*/ 17472 h 464193"/>
              <a:gd name="connsiteX226" fmla="*/ 134935 w 1715044"/>
              <a:gd name="connsiteY226" fmla="*/ 0 h 464193"/>
              <a:gd name="connsiteX227" fmla="*/ 133197 w 1715044"/>
              <a:gd name="connsiteY227" fmla="*/ 3016 h 464193"/>
              <a:gd name="connsiteX228" fmla="*/ 133197 w 1715044"/>
              <a:gd name="connsiteY228" fmla="*/ 60807 h 464193"/>
              <a:gd name="connsiteX229" fmla="*/ 166563 w 1715044"/>
              <a:gd name="connsiteY229" fmla="*/ 118598 h 464193"/>
              <a:gd name="connsiteX230" fmla="*/ 166563 w 1715044"/>
              <a:gd name="connsiteY230" fmla="*/ 176389 h 464193"/>
              <a:gd name="connsiteX231" fmla="*/ 164824 w 1715044"/>
              <a:gd name="connsiteY231" fmla="*/ 179405 h 464193"/>
              <a:gd name="connsiteX232" fmla="*/ 158226 w 1715044"/>
              <a:gd name="connsiteY232" fmla="*/ 161933 h 464193"/>
              <a:gd name="connsiteX233" fmla="*/ 127680 w 1715044"/>
              <a:gd name="connsiteY233" fmla="*/ 109037 h 464193"/>
              <a:gd name="connsiteX234" fmla="*/ 108168 w 1715044"/>
              <a:gd name="connsiteY234" fmla="*/ 75264 h 464193"/>
              <a:gd name="connsiteX235" fmla="*/ 101569 w 1715044"/>
              <a:gd name="connsiteY235" fmla="*/ 57791 h 464193"/>
              <a:gd name="connsiteX236" fmla="*/ 99831 w 1715044"/>
              <a:gd name="connsiteY236" fmla="*/ 60807 h 464193"/>
              <a:gd name="connsiteX237" fmla="*/ 99725 w 1715044"/>
              <a:gd name="connsiteY237" fmla="*/ 118421 h 464193"/>
              <a:gd name="connsiteX238" fmla="*/ 99725 w 1715044"/>
              <a:gd name="connsiteY238" fmla="*/ 118421 h 464193"/>
              <a:gd name="connsiteX239" fmla="*/ 133197 w 1715044"/>
              <a:gd name="connsiteY239" fmla="*/ 176389 h 464193"/>
              <a:gd name="connsiteX240" fmla="*/ 133197 w 1715044"/>
              <a:gd name="connsiteY240" fmla="*/ 234181 h 464193"/>
              <a:gd name="connsiteX241" fmla="*/ 131459 w 1715044"/>
              <a:gd name="connsiteY241" fmla="*/ 237196 h 464193"/>
              <a:gd name="connsiteX242" fmla="*/ 124860 w 1715044"/>
              <a:gd name="connsiteY242" fmla="*/ 219724 h 464193"/>
              <a:gd name="connsiteX243" fmla="*/ 83157 w 1715044"/>
              <a:gd name="connsiteY243" fmla="*/ 147494 h 464193"/>
              <a:gd name="connsiteX244" fmla="*/ 75476 w 1715044"/>
              <a:gd name="connsiteY244" fmla="*/ 116097 h 464193"/>
              <a:gd name="connsiteX245" fmla="*/ 0 w 1715044"/>
              <a:gd name="connsiteY245" fmla="*/ 181214 h 464193"/>
              <a:gd name="connsiteX246" fmla="*/ 133197 w 1715044"/>
              <a:gd name="connsiteY246" fmla="*/ 253462 h 464193"/>
              <a:gd name="connsiteX247" fmla="*/ 266394 w 1715044"/>
              <a:gd name="connsiteY247" fmla="*/ 181214 h 464193"/>
              <a:gd name="connsiteX248" fmla="*/ 190935 w 1715044"/>
              <a:gd name="connsiteY248" fmla="*/ 116097 h 464193"/>
              <a:gd name="connsiteX249" fmla="*/ 316682 w 1715044"/>
              <a:gd name="connsiteY249" fmla="*/ 239449 h 464193"/>
              <a:gd name="connsiteX250" fmla="*/ 321436 w 1715044"/>
              <a:gd name="connsiteY250" fmla="*/ 214172 h 464193"/>
              <a:gd name="connsiteX251" fmla="*/ 367218 w 1715044"/>
              <a:gd name="connsiteY251" fmla="*/ 223928 h 464193"/>
              <a:gd name="connsiteX252" fmla="*/ 403493 w 1715044"/>
              <a:gd name="connsiteY252" fmla="*/ 201667 h 464193"/>
              <a:gd name="connsiteX253" fmla="*/ 370464 w 1715044"/>
              <a:gd name="connsiteY253" fmla="*/ 170146 h 464193"/>
              <a:gd name="connsiteX254" fmla="*/ 357710 w 1715044"/>
              <a:gd name="connsiteY254" fmla="*/ 164647 h 464193"/>
              <a:gd name="connsiteX255" fmla="*/ 318172 w 1715044"/>
              <a:gd name="connsiteY255" fmla="*/ 114607 h 464193"/>
              <a:gd name="connsiteX256" fmla="*/ 378464 w 1715044"/>
              <a:gd name="connsiteY256" fmla="*/ 67813 h 464193"/>
              <a:gd name="connsiteX257" fmla="*/ 424247 w 1715044"/>
              <a:gd name="connsiteY257" fmla="*/ 75068 h 464193"/>
              <a:gd name="connsiteX258" fmla="*/ 419245 w 1715044"/>
              <a:gd name="connsiteY258" fmla="*/ 100097 h 464193"/>
              <a:gd name="connsiteX259" fmla="*/ 378216 w 1715044"/>
              <a:gd name="connsiteY259" fmla="*/ 92842 h 464193"/>
              <a:gd name="connsiteX260" fmla="*/ 346447 w 1715044"/>
              <a:gd name="connsiteY260" fmla="*/ 114607 h 464193"/>
              <a:gd name="connsiteX261" fmla="*/ 373710 w 1715044"/>
              <a:gd name="connsiteY261" fmla="*/ 142634 h 464193"/>
              <a:gd name="connsiteX262" fmla="*/ 387227 w 1715044"/>
              <a:gd name="connsiteY262" fmla="*/ 148381 h 464193"/>
              <a:gd name="connsiteX263" fmla="*/ 432264 w 1715044"/>
              <a:gd name="connsiteY263" fmla="*/ 200425 h 464193"/>
              <a:gd name="connsiteX264" fmla="*/ 367963 w 1715044"/>
              <a:gd name="connsiteY264" fmla="*/ 248957 h 464193"/>
              <a:gd name="connsiteX265" fmla="*/ 316682 w 1715044"/>
              <a:gd name="connsiteY265" fmla="*/ 239449 h 464193"/>
              <a:gd name="connsiteX266" fmla="*/ 566632 w 1715044"/>
              <a:gd name="connsiteY266" fmla="*/ 119840 h 464193"/>
              <a:gd name="connsiteX267" fmla="*/ 566632 w 1715044"/>
              <a:gd name="connsiteY267" fmla="*/ 244948 h 464193"/>
              <a:gd name="connsiteX268" fmla="*/ 541373 w 1715044"/>
              <a:gd name="connsiteY268" fmla="*/ 244948 h 464193"/>
              <a:gd name="connsiteX269" fmla="*/ 539865 w 1715044"/>
              <a:gd name="connsiteY269" fmla="*/ 229941 h 464193"/>
              <a:gd name="connsiteX270" fmla="*/ 504584 w 1715044"/>
              <a:gd name="connsiteY270" fmla="*/ 247946 h 464193"/>
              <a:gd name="connsiteX271" fmla="*/ 449542 w 1715044"/>
              <a:gd name="connsiteY271" fmla="*/ 181888 h 464193"/>
              <a:gd name="connsiteX272" fmla="*/ 519342 w 1715044"/>
              <a:gd name="connsiteY272" fmla="*/ 112833 h 464193"/>
              <a:gd name="connsiteX273" fmla="*/ 566632 w 1715044"/>
              <a:gd name="connsiteY273" fmla="*/ 119840 h 464193"/>
              <a:gd name="connsiteX274" fmla="*/ 539120 w 1715044"/>
              <a:gd name="connsiteY274" fmla="*/ 216425 h 464193"/>
              <a:gd name="connsiteX275" fmla="*/ 539120 w 1715044"/>
              <a:gd name="connsiteY275" fmla="*/ 137862 h 464193"/>
              <a:gd name="connsiteX276" fmla="*/ 519360 w 1715044"/>
              <a:gd name="connsiteY276" fmla="*/ 136354 h 464193"/>
              <a:gd name="connsiteX277" fmla="*/ 477568 w 1715044"/>
              <a:gd name="connsiteY277" fmla="*/ 181888 h 464193"/>
              <a:gd name="connsiteX278" fmla="*/ 512353 w 1715044"/>
              <a:gd name="connsiteY278" fmla="*/ 225418 h 464193"/>
              <a:gd name="connsiteX279" fmla="*/ 539120 w 1715044"/>
              <a:gd name="connsiteY279" fmla="*/ 216425 h 464193"/>
              <a:gd name="connsiteX280" fmla="*/ 707510 w 1715044"/>
              <a:gd name="connsiteY280" fmla="*/ 160886 h 464193"/>
              <a:gd name="connsiteX281" fmla="*/ 707510 w 1715044"/>
              <a:gd name="connsiteY281" fmla="*/ 244948 h 464193"/>
              <a:gd name="connsiteX282" fmla="*/ 679980 w 1715044"/>
              <a:gd name="connsiteY282" fmla="*/ 244948 h 464193"/>
              <a:gd name="connsiteX283" fmla="*/ 679980 w 1715044"/>
              <a:gd name="connsiteY283" fmla="*/ 165640 h 464193"/>
              <a:gd name="connsiteX284" fmla="*/ 645958 w 1715044"/>
              <a:gd name="connsiteY284" fmla="*/ 136372 h 464193"/>
              <a:gd name="connsiteX285" fmla="*/ 624193 w 1715044"/>
              <a:gd name="connsiteY285" fmla="*/ 138376 h 464193"/>
              <a:gd name="connsiteX286" fmla="*/ 624193 w 1715044"/>
              <a:gd name="connsiteY286" fmla="*/ 244966 h 464193"/>
              <a:gd name="connsiteX287" fmla="*/ 596663 w 1715044"/>
              <a:gd name="connsiteY287" fmla="*/ 244966 h 464193"/>
              <a:gd name="connsiteX288" fmla="*/ 596663 w 1715044"/>
              <a:gd name="connsiteY288" fmla="*/ 119840 h 464193"/>
              <a:gd name="connsiteX289" fmla="*/ 646703 w 1715044"/>
              <a:gd name="connsiteY289" fmla="*/ 112833 h 464193"/>
              <a:gd name="connsiteX290" fmla="*/ 707510 w 1715044"/>
              <a:gd name="connsiteY290" fmla="*/ 160886 h 464193"/>
              <a:gd name="connsiteX291" fmla="*/ 783820 w 1715044"/>
              <a:gd name="connsiteY291" fmla="*/ 224425 h 464193"/>
              <a:gd name="connsiteX292" fmla="*/ 805336 w 1715044"/>
              <a:gd name="connsiteY292" fmla="*/ 220664 h 464193"/>
              <a:gd name="connsiteX293" fmla="*/ 802090 w 1715044"/>
              <a:gd name="connsiteY293" fmla="*/ 243937 h 464193"/>
              <a:gd name="connsiteX294" fmla="*/ 778818 w 1715044"/>
              <a:gd name="connsiteY294" fmla="*/ 247946 h 464193"/>
              <a:gd name="connsiteX295" fmla="*/ 735039 w 1715044"/>
              <a:gd name="connsiteY295" fmla="*/ 205161 h 464193"/>
              <a:gd name="connsiteX296" fmla="*/ 735039 w 1715044"/>
              <a:gd name="connsiteY296" fmla="*/ 73809 h 464193"/>
              <a:gd name="connsiteX297" fmla="*/ 762569 w 1715044"/>
              <a:gd name="connsiteY297" fmla="*/ 69800 h 464193"/>
              <a:gd name="connsiteX298" fmla="*/ 762569 w 1715044"/>
              <a:gd name="connsiteY298" fmla="*/ 117090 h 464193"/>
              <a:gd name="connsiteX299" fmla="*/ 806099 w 1715044"/>
              <a:gd name="connsiteY299" fmla="*/ 117090 h 464193"/>
              <a:gd name="connsiteX300" fmla="*/ 803598 w 1715044"/>
              <a:gd name="connsiteY300" fmla="*/ 140611 h 464193"/>
              <a:gd name="connsiteX301" fmla="*/ 762569 w 1715044"/>
              <a:gd name="connsiteY301" fmla="*/ 140611 h 464193"/>
              <a:gd name="connsiteX302" fmla="*/ 762569 w 1715044"/>
              <a:gd name="connsiteY302" fmla="*/ 201915 h 464193"/>
              <a:gd name="connsiteX303" fmla="*/ 783820 w 1715044"/>
              <a:gd name="connsiteY303" fmla="*/ 224425 h 464193"/>
              <a:gd name="connsiteX304" fmla="*/ 931456 w 1715044"/>
              <a:gd name="connsiteY304" fmla="*/ 119840 h 464193"/>
              <a:gd name="connsiteX305" fmla="*/ 931456 w 1715044"/>
              <a:gd name="connsiteY305" fmla="*/ 244948 h 464193"/>
              <a:gd name="connsiteX306" fmla="*/ 906178 w 1715044"/>
              <a:gd name="connsiteY306" fmla="*/ 244948 h 464193"/>
              <a:gd name="connsiteX307" fmla="*/ 904671 w 1715044"/>
              <a:gd name="connsiteY307" fmla="*/ 229941 h 464193"/>
              <a:gd name="connsiteX308" fmla="*/ 869389 w 1715044"/>
              <a:gd name="connsiteY308" fmla="*/ 247946 h 464193"/>
              <a:gd name="connsiteX309" fmla="*/ 814347 w 1715044"/>
              <a:gd name="connsiteY309" fmla="*/ 181888 h 464193"/>
              <a:gd name="connsiteX310" fmla="*/ 884148 w 1715044"/>
              <a:gd name="connsiteY310" fmla="*/ 112833 h 464193"/>
              <a:gd name="connsiteX311" fmla="*/ 931456 w 1715044"/>
              <a:gd name="connsiteY311" fmla="*/ 119840 h 464193"/>
              <a:gd name="connsiteX312" fmla="*/ 903926 w 1715044"/>
              <a:gd name="connsiteY312" fmla="*/ 216425 h 464193"/>
              <a:gd name="connsiteX313" fmla="*/ 903926 w 1715044"/>
              <a:gd name="connsiteY313" fmla="*/ 137862 h 464193"/>
              <a:gd name="connsiteX314" fmla="*/ 884165 w 1715044"/>
              <a:gd name="connsiteY314" fmla="*/ 136354 h 464193"/>
              <a:gd name="connsiteX315" fmla="*/ 842374 w 1715044"/>
              <a:gd name="connsiteY315" fmla="*/ 181888 h 464193"/>
              <a:gd name="connsiteX316" fmla="*/ 877159 w 1715044"/>
              <a:gd name="connsiteY316" fmla="*/ 225418 h 464193"/>
              <a:gd name="connsiteX317" fmla="*/ 903926 w 1715044"/>
              <a:gd name="connsiteY317" fmla="*/ 216425 h 464193"/>
              <a:gd name="connsiteX318" fmla="*/ 1072315 w 1715044"/>
              <a:gd name="connsiteY318" fmla="*/ 160886 h 464193"/>
              <a:gd name="connsiteX319" fmla="*/ 1072315 w 1715044"/>
              <a:gd name="connsiteY319" fmla="*/ 244948 h 464193"/>
              <a:gd name="connsiteX320" fmla="*/ 1044786 w 1715044"/>
              <a:gd name="connsiteY320" fmla="*/ 244948 h 464193"/>
              <a:gd name="connsiteX321" fmla="*/ 1044786 w 1715044"/>
              <a:gd name="connsiteY321" fmla="*/ 165640 h 464193"/>
              <a:gd name="connsiteX322" fmla="*/ 1010763 w 1715044"/>
              <a:gd name="connsiteY322" fmla="*/ 136372 h 464193"/>
              <a:gd name="connsiteX323" fmla="*/ 988999 w 1715044"/>
              <a:gd name="connsiteY323" fmla="*/ 138376 h 464193"/>
              <a:gd name="connsiteX324" fmla="*/ 988999 w 1715044"/>
              <a:gd name="connsiteY324" fmla="*/ 244966 h 464193"/>
              <a:gd name="connsiteX325" fmla="*/ 961469 w 1715044"/>
              <a:gd name="connsiteY325" fmla="*/ 244966 h 464193"/>
              <a:gd name="connsiteX326" fmla="*/ 961469 w 1715044"/>
              <a:gd name="connsiteY326" fmla="*/ 119840 h 464193"/>
              <a:gd name="connsiteX327" fmla="*/ 1011508 w 1715044"/>
              <a:gd name="connsiteY327" fmla="*/ 112833 h 464193"/>
              <a:gd name="connsiteX328" fmla="*/ 1072315 w 1715044"/>
              <a:gd name="connsiteY328" fmla="*/ 160886 h 464193"/>
              <a:gd name="connsiteX329" fmla="*/ 1211933 w 1715044"/>
              <a:gd name="connsiteY329" fmla="*/ 69800 h 464193"/>
              <a:gd name="connsiteX330" fmla="*/ 1211933 w 1715044"/>
              <a:gd name="connsiteY330" fmla="*/ 244930 h 464193"/>
              <a:gd name="connsiteX331" fmla="*/ 1186656 w 1715044"/>
              <a:gd name="connsiteY331" fmla="*/ 244930 h 464193"/>
              <a:gd name="connsiteX332" fmla="*/ 1185149 w 1715044"/>
              <a:gd name="connsiteY332" fmla="*/ 228913 h 464193"/>
              <a:gd name="connsiteX333" fmla="*/ 1149371 w 1715044"/>
              <a:gd name="connsiteY333" fmla="*/ 247928 h 464193"/>
              <a:gd name="connsiteX334" fmla="*/ 1094329 w 1715044"/>
              <a:gd name="connsiteY334" fmla="*/ 181871 h 464193"/>
              <a:gd name="connsiteX335" fmla="*/ 1164129 w 1715044"/>
              <a:gd name="connsiteY335" fmla="*/ 112815 h 464193"/>
              <a:gd name="connsiteX336" fmla="*/ 1184652 w 1715044"/>
              <a:gd name="connsiteY336" fmla="*/ 114820 h 464193"/>
              <a:gd name="connsiteX337" fmla="*/ 1184652 w 1715044"/>
              <a:gd name="connsiteY337" fmla="*/ 73561 h 464193"/>
              <a:gd name="connsiteX338" fmla="*/ 1211933 w 1715044"/>
              <a:gd name="connsiteY338" fmla="*/ 69800 h 464193"/>
              <a:gd name="connsiteX339" fmla="*/ 1184652 w 1715044"/>
              <a:gd name="connsiteY339" fmla="*/ 215928 h 464193"/>
              <a:gd name="connsiteX340" fmla="*/ 1184652 w 1715044"/>
              <a:gd name="connsiteY340" fmla="*/ 138855 h 464193"/>
              <a:gd name="connsiteX341" fmla="*/ 1162639 w 1715044"/>
              <a:gd name="connsiteY341" fmla="*/ 136354 h 464193"/>
              <a:gd name="connsiteX342" fmla="*/ 1122355 w 1715044"/>
              <a:gd name="connsiteY342" fmla="*/ 181888 h 464193"/>
              <a:gd name="connsiteX343" fmla="*/ 1157140 w 1715044"/>
              <a:gd name="connsiteY343" fmla="*/ 225418 h 464193"/>
              <a:gd name="connsiteX344" fmla="*/ 1184652 w 1715044"/>
              <a:gd name="connsiteY344" fmla="*/ 215928 h 464193"/>
              <a:gd name="connsiteX345" fmla="*/ 1350292 w 1715044"/>
              <a:gd name="connsiteY345" fmla="*/ 191396 h 464193"/>
              <a:gd name="connsiteX346" fmla="*/ 1262470 w 1715044"/>
              <a:gd name="connsiteY346" fmla="*/ 191396 h 464193"/>
              <a:gd name="connsiteX347" fmla="*/ 1303499 w 1715044"/>
              <a:gd name="connsiteY347" fmla="*/ 224425 h 464193"/>
              <a:gd name="connsiteX348" fmla="*/ 1347525 w 1715044"/>
              <a:gd name="connsiteY348" fmla="*/ 214917 h 464193"/>
              <a:gd name="connsiteX349" fmla="*/ 1343268 w 1715044"/>
              <a:gd name="connsiteY349" fmla="*/ 239928 h 464193"/>
              <a:gd name="connsiteX350" fmla="*/ 1302736 w 1715044"/>
              <a:gd name="connsiteY350" fmla="*/ 247928 h 464193"/>
              <a:gd name="connsiteX351" fmla="*/ 1234426 w 1715044"/>
              <a:gd name="connsiteY351" fmla="*/ 179618 h 464193"/>
              <a:gd name="connsiteX352" fmla="*/ 1295481 w 1715044"/>
              <a:gd name="connsiteY352" fmla="*/ 112815 h 464193"/>
              <a:gd name="connsiteX353" fmla="*/ 1351782 w 1715044"/>
              <a:gd name="connsiteY353" fmla="*/ 170110 h 464193"/>
              <a:gd name="connsiteX354" fmla="*/ 1350292 w 1715044"/>
              <a:gd name="connsiteY354" fmla="*/ 191396 h 464193"/>
              <a:gd name="connsiteX355" fmla="*/ 1261973 w 1715044"/>
              <a:gd name="connsiteY355" fmla="*/ 168390 h 464193"/>
              <a:gd name="connsiteX356" fmla="*/ 1324022 w 1715044"/>
              <a:gd name="connsiteY356" fmla="*/ 168390 h 464193"/>
              <a:gd name="connsiteX357" fmla="*/ 1293991 w 1715044"/>
              <a:gd name="connsiteY357" fmla="*/ 135858 h 464193"/>
              <a:gd name="connsiteX358" fmla="*/ 1261973 w 1715044"/>
              <a:gd name="connsiteY358" fmla="*/ 168390 h 464193"/>
              <a:gd name="connsiteX359" fmla="*/ 1446629 w 1715044"/>
              <a:gd name="connsiteY359" fmla="*/ 113844 h 464193"/>
              <a:gd name="connsiteX360" fmla="*/ 1444128 w 1715044"/>
              <a:gd name="connsiteY360" fmla="*/ 137365 h 464193"/>
              <a:gd name="connsiteX361" fmla="*/ 1423356 w 1715044"/>
              <a:gd name="connsiteY361" fmla="*/ 136372 h 464193"/>
              <a:gd name="connsiteX362" fmla="*/ 1403099 w 1715044"/>
              <a:gd name="connsiteY362" fmla="*/ 137880 h 464193"/>
              <a:gd name="connsiteX363" fmla="*/ 1403099 w 1715044"/>
              <a:gd name="connsiteY363" fmla="*/ 244966 h 464193"/>
              <a:gd name="connsiteX364" fmla="*/ 1375569 w 1715044"/>
              <a:gd name="connsiteY364" fmla="*/ 244966 h 464193"/>
              <a:gd name="connsiteX365" fmla="*/ 1375569 w 1715044"/>
              <a:gd name="connsiteY365" fmla="*/ 119840 h 464193"/>
              <a:gd name="connsiteX366" fmla="*/ 1422611 w 1715044"/>
              <a:gd name="connsiteY366" fmla="*/ 112833 h 464193"/>
              <a:gd name="connsiteX367" fmla="*/ 1446629 w 1715044"/>
              <a:gd name="connsiteY367" fmla="*/ 113844 h 464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</a:cxnLst>
            <a:rect l="l" t="t" r="r" b="b"/>
            <a:pathLst>
              <a:path w="1715044" h="464193">
                <a:moveTo>
                  <a:pt x="391413" y="400655"/>
                </a:moveTo>
                <a:lnTo>
                  <a:pt x="339050" y="400655"/>
                </a:lnTo>
                <a:lnTo>
                  <a:pt x="329223" y="429284"/>
                </a:lnTo>
                <a:lnTo>
                  <a:pt x="316682" y="429284"/>
                </a:lnTo>
                <a:lnTo>
                  <a:pt x="357515" y="312708"/>
                </a:lnTo>
                <a:cubicBezTo>
                  <a:pt x="361755" y="311697"/>
                  <a:pt x="367342" y="311183"/>
                  <a:pt x="372433" y="311183"/>
                </a:cubicBezTo>
                <a:lnTo>
                  <a:pt x="413781" y="429284"/>
                </a:lnTo>
                <a:lnTo>
                  <a:pt x="401240" y="429284"/>
                </a:lnTo>
                <a:lnTo>
                  <a:pt x="391413" y="400655"/>
                </a:lnTo>
                <a:close/>
                <a:moveTo>
                  <a:pt x="387688" y="389462"/>
                </a:moveTo>
                <a:lnTo>
                  <a:pt x="365320" y="323546"/>
                </a:lnTo>
                <a:lnTo>
                  <a:pt x="342793" y="389462"/>
                </a:lnTo>
                <a:lnTo>
                  <a:pt x="387688" y="389462"/>
                </a:lnTo>
                <a:close/>
                <a:moveTo>
                  <a:pt x="421231" y="424708"/>
                </a:moveTo>
                <a:cubicBezTo>
                  <a:pt x="421409" y="419972"/>
                  <a:pt x="422083" y="416743"/>
                  <a:pt x="422934" y="414366"/>
                </a:cubicBezTo>
                <a:cubicBezTo>
                  <a:pt x="430899" y="418943"/>
                  <a:pt x="441914" y="420983"/>
                  <a:pt x="450553" y="420983"/>
                </a:cubicBezTo>
                <a:cubicBezTo>
                  <a:pt x="463590" y="420983"/>
                  <a:pt x="471555" y="416921"/>
                  <a:pt x="471555" y="407253"/>
                </a:cubicBezTo>
                <a:cubicBezTo>
                  <a:pt x="471555" y="397089"/>
                  <a:pt x="462242" y="393524"/>
                  <a:pt x="454100" y="390987"/>
                </a:cubicBezTo>
                <a:lnTo>
                  <a:pt x="446313" y="388610"/>
                </a:lnTo>
                <a:cubicBezTo>
                  <a:pt x="431236" y="384034"/>
                  <a:pt x="422934" y="376406"/>
                  <a:pt x="422934" y="362854"/>
                </a:cubicBezTo>
                <a:cubicBezTo>
                  <a:pt x="422934" y="347777"/>
                  <a:pt x="434464" y="339812"/>
                  <a:pt x="453604" y="339812"/>
                </a:cubicBezTo>
                <a:cubicBezTo>
                  <a:pt x="463431" y="339812"/>
                  <a:pt x="472584" y="341160"/>
                  <a:pt x="480371" y="344211"/>
                </a:cubicBezTo>
                <a:cubicBezTo>
                  <a:pt x="480193" y="347103"/>
                  <a:pt x="479697" y="350828"/>
                  <a:pt x="478668" y="354216"/>
                </a:cubicBezTo>
                <a:cubicBezTo>
                  <a:pt x="470881" y="351324"/>
                  <a:pt x="462224" y="349976"/>
                  <a:pt x="453923" y="349976"/>
                </a:cubicBezTo>
                <a:cubicBezTo>
                  <a:pt x="440868" y="349976"/>
                  <a:pt x="434269" y="354216"/>
                  <a:pt x="434269" y="362517"/>
                </a:cubicBezTo>
                <a:cubicBezTo>
                  <a:pt x="434269" y="372007"/>
                  <a:pt x="440885" y="374881"/>
                  <a:pt x="451386" y="378446"/>
                </a:cubicBezTo>
                <a:lnTo>
                  <a:pt x="459351" y="381160"/>
                </a:lnTo>
                <a:cubicBezTo>
                  <a:pt x="472743" y="385737"/>
                  <a:pt x="483067" y="392176"/>
                  <a:pt x="483067" y="406916"/>
                </a:cubicBezTo>
                <a:cubicBezTo>
                  <a:pt x="483067" y="422331"/>
                  <a:pt x="471200" y="431306"/>
                  <a:pt x="450872" y="431306"/>
                </a:cubicBezTo>
                <a:cubicBezTo>
                  <a:pt x="439023" y="431324"/>
                  <a:pt x="429196" y="429284"/>
                  <a:pt x="421231" y="424708"/>
                </a:cubicBezTo>
                <a:close/>
                <a:moveTo>
                  <a:pt x="495271" y="424708"/>
                </a:moveTo>
                <a:cubicBezTo>
                  <a:pt x="495431" y="419972"/>
                  <a:pt x="496122" y="416743"/>
                  <a:pt x="496974" y="414366"/>
                </a:cubicBezTo>
                <a:cubicBezTo>
                  <a:pt x="504938" y="418943"/>
                  <a:pt x="515954" y="420983"/>
                  <a:pt x="524592" y="420983"/>
                </a:cubicBezTo>
                <a:cubicBezTo>
                  <a:pt x="537648" y="420983"/>
                  <a:pt x="545594" y="416921"/>
                  <a:pt x="545594" y="407253"/>
                </a:cubicBezTo>
                <a:cubicBezTo>
                  <a:pt x="545594" y="397089"/>
                  <a:pt x="536282" y="393524"/>
                  <a:pt x="528140" y="390987"/>
                </a:cubicBezTo>
                <a:lnTo>
                  <a:pt x="520353" y="388610"/>
                </a:lnTo>
                <a:cubicBezTo>
                  <a:pt x="505275" y="384034"/>
                  <a:pt x="496974" y="376406"/>
                  <a:pt x="496974" y="362854"/>
                </a:cubicBezTo>
                <a:cubicBezTo>
                  <a:pt x="496974" y="347777"/>
                  <a:pt x="508504" y="339812"/>
                  <a:pt x="527643" y="339812"/>
                </a:cubicBezTo>
                <a:cubicBezTo>
                  <a:pt x="537470" y="339812"/>
                  <a:pt x="546623" y="341160"/>
                  <a:pt x="554410" y="344211"/>
                </a:cubicBezTo>
                <a:cubicBezTo>
                  <a:pt x="554233" y="347103"/>
                  <a:pt x="553736" y="350828"/>
                  <a:pt x="552708" y="354216"/>
                </a:cubicBezTo>
                <a:cubicBezTo>
                  <a:pt x="544920" y="351324"/>
                  <a:pt x="536264" y="349976"/>
                  <a:pt x="527963" y="349976"/>
                </a:cubicBezTo>
                <a:cubicBezTo>
                  <a:pt x="514925" y="349976"/>
                  <a:pt x="508309" y="354216"/>
                  <a:pt x="508309" y="362517"/>
                </a:cubicBezTo>
                <a:cubicBezTo>
                  <a:pt x="508309" y="372007"/>
                  <a:pt x="514925" y="374881"/>
                  <a:pt x="525426" y="378446"/>
                </a:cubicBezTo>
                <a:lnTo>
                  <a:pt x="533391" y="381160"/>
                </a:lnTo>
                <a:cubicBezTo>
                  <a:pt x="546783" y="385737"/>
                  <a:pt x="557107" y="392176"/>
                  <a:pt x="557107" y="406916"/>
                </a:cubicBezTo>
                <a:cubicBezTo>
                  <a:pt x="557107" y="422331"/>
                  <a:pt x="545240" y="431306"/>
                  <a:pt x="524912" y="431306"/>
                </a:cubicBezTo>
                <a:cubicBezTo>
                  <a:pt x="513062" y="431324"/>
                  <a:pt x="503235" y="429284"/>
                  <a:pt x="495271" y="424708"/>
                </a:cubicBezTo>
                <a:close/>
                <a:moveTo>
                  <a:pt x="642854" y="389639"/>
                </a:moveTo>
                <a:lnTo>
                  <a:pt x="580166" y="389639"/>
                </a:lnTo>
                <a:cubicBezTo>
                  <a:pt x="581692" y="409967"/>
                  <a:pt x="592370" y="420823"/>
                  <a:pt x="611687" y="420823"/>
                </a:cubicBezTo>
                <a:cubicBezTo>
                  <a:pt x="620840" y="420823"/>
                  <a:pt x="631004" y="418783"/>
                  <a:pt x="640157" y="413533"/>
                </a:cubicBezTo>
                <a:cubicBezTo>
                  <a:pt x="639820" y="416584"/>
                  <a:pt x="639146" y="421160"/>
                  <a:pt x="638295" y="424885"/>
                </a:cubicBezTo>
                <a:cubicBezTo>
                  <a:pt x="629816" y="429799"/>
                  <a:pt x="621018" y="431324"/>
                  <a:pt x="611350" y="431324"/>
                </a:cubicBezTo>
                <a:cubicBezTo>
                  <a:pt x="583058" y="431324"/>
                  <a:pt x="568140" y="414207"/>
                  <a:pt x="568140" y="385063"/>
                </a:cubicBezTo>
                <a:cubicBezTo>
                  <a:pt x="568140" y="359821"/>
                  <a:pt x="579492" y="339830"/>
                  <a:pt x="607288" y="339830"/>
                </a:cubicBezTo>
                <a:cubicBezTo>
                  <a:pt x="632707" y="339830"/>
                  <a:pt x="643545" y="357284"/>
                  <a:pt x="643545" y="379138"/>
                </a:cubicBezTo>
                <a:cubicBezTo>
                  <a:pt x="643528" y="382686"/>
                  <a:pt x="643368" y="386251"/>
                  <a:pt x="642854" y="389639"/>
                </a:cubicBezTo>
                <a:close/>
                <a:moveTo>
                  <a:pt x="580166" y="378961"/>
                </a:moveTo>
                <a:lnTo>
                  <a:pt x="631678" y="378961"/>
                </a:lnTo>
                <a:lnTo>
                  <a:pt x="631678" y="378287"/>
                </a:lnTo>
                <a:cubicBezTo>
                  <a:pt x="631678" y="361506"/>
                  <a:pt x="623554" y="350154"/>
                  <a:pt x="606774" y="350154"/>
                </a:cubicBezTo>
                <a:cubicBezTo>
                  <a:pt x="589816" y="350154"/>
                  <a:pt x="581514" y="361347"/>
                  <a:pt x="580166" y="378961"/>
                </a:cubicBezTo>
                <a:close/>
                <a:moveTo>
                  <a:pt x="704193" y="418446"/>
                </a:moveTo>
                <a:cubicBezTo>
                  <a:pt x="703856" y="421674"/>
                  <a:pt x="703341" y="425400"/>
                  <a:pt x="702667" y="428610"/>
                </a:cubicBezTo>
                <a:cubicBezTo>
                  <a:pt x="697576" y="430473"/>
                  <a:pt x="692663" y="431324"/>
                  <a:pt x="687412" y="431324"/>
                </a:cubicBezTo>
                <a:cubicBezTo>
                  <a:pt x="671146" y="431324"/>
                  <a:pt x="661142" y="423200"/>
                  <a:pt x="661142" y="404220"/>
                </a:cubicBezTo>
                <a:lnTo>
                  <a:pt x="661142" y="312903"/>
                </a:lnTo>
                <a:cubicBezTo>
                  <a:pt x="664707" y="311715"/>
                  <a:pt x="669443" y="311041"/>
                  <a:pt x="673009" y="311041"/>
                </a:cubicBezTo>
                <a:lnTo>
                  <a:pt x="673009" y="342384"/>
                </a:lnTo>
                <a:lnTo>
                  <a:pt x="703678" y="342384"/>
                </a:lnTo>
                <a:cubicBezTo>
                  <a:pt x="703501" y="346446"/>
                  <a:pt x="703164" y="349834"/>
                  <a:pt x="702490" y="353063"/>
                </a:cubicBezTo>
                <a:lnTo>
                  <a:pt x="673009" y="353063"/>
                </a:lnTo>
                <a:lnTo>
                  <a:pt x="673009" y="402872"/>
                </a:lnTo>
                <a:cubicBezTo>
                  <a:pt x="673009" y="415750"/>
                  <a:pt x="678933" y="421178"/>
                  <a:pt x="689452" y="421178"/>
                </a:cubicBezTo>
                <a:cubicBezTo>
                  <a:pt x="694188" y="421160"/>
                  <a:pt x="699616" y="420131"/>
                  <a:pt x="704193" y="418446"/>
                </a:cubicBezTo>
                <a:close/>
                <a:moveTo>
                  <a:pt x="870241" y="429284"/>
                </a:moveTo>
                <a:lnTo>
                  <a:pt x="857877" y="429284"/>
                </a:lnTo>
                <a:lnTo>
                  <a:pt x="854312" y="376247"/>
                </a:lnTo>
                <a:cubicBezTo>
                  <a:pt x="853301" y="359981"/>
                  <a:pt x="852449" y="344229"/>
                  <a:pt x="851935" y="328797"/>
                </a:cubicBezTo>
                <a:cubicBezTo>
                  <a:pt x="845673" y="346074"/>
                  <a:pt x="838720" y="364202"/>
                  <a:pt x="832103" y="380468"/>
                </a:cubicBezTo>
                <a:lnTo>
                  <a:pt x="812449" y="429266"/>
                </a:lnTo>
                <a:lnTo>
                  <a:pt x="803474" y="429266"/>
                </a:lnTo>
                <a:lnTo>
                  <a:pt x="782472" y="375892"/>
                </a:lnTo>
                <a:cubicBezTo>
                  <a:pt x="775855" y="359626"/>
                  <a:pt x="769771" y="343697"/>
                  <a:pt x="764858" y="328956"/>
                </a:cubicBezTo>
                <a:cubicBezTo>
                  <a:pt x="764183" y="343697"/>
                  <a:pt x="762995" y="361666"/>
                  <a:pt x="761984" y="377240"/>
                </a:cubicBezTo>
                <a:lnTo>
                  <a:pt x="757922" y="429249"/>
                </a:lnTo>
                <a:lnTo>
                  <a:pt x="745718" y="429249"/>
                </a:lnTo>
                <a:lnTo>
                  <a:pt x="754871" y="312673"/>
                </a:lnTo>
                <a:cubicBezTo>
                  <a:pt x="758773" y="311484"/>
                  <a:pt x="765709" y="310810"/>
                  <a:pt x="769434" y="310810"/>
                </a:cubicBezTo>
                <a:lnTo>
                  <a:pt x="808228" y="410606"/>
                </a:lnTo>
                <a:lnTo>
                  <a:pt x="846525" y="312673"/>
                </a:lnTo>
                <a:cubicBezTo>
                  <a:pt x="850924" y="311147"/>
                  <a:pt x="857363" y="310810"/>
                  <a:pt x="861443" y="310810"/>
                </a:cubicBezTo>
                <a:lnTo>
                  <a:pt x="870241" y="429284"/>
                </a:lnTo>
                <a:close/>
                <a:moveTo>
                  <a:pt x="960369" y="344566"/>
                </a:moveTo>
                <a:lnTo>
                  <a:pt x="960369" y="429284"/>
                </a:lnTo>
                <a:lnTo>
                  <a:pt x="949354" y="429284"/>
                </a:lnTo>
                <a:lnTo>
                  <a:pt x="949016" y="422686"/>
                </a:lnTo>
                <a:cubicBezTo>
                  <a:pt x="943252" y="427776"/>
                  <a:pt x="935464" y="431324"/>
                  <a:pt x="925974" y="431324"/>
                </a:cubicBezTo>
                <a:cubicBezTo>
                  <a:pt x="901921" y="431324"/>
                  <a:pt x="887003" y="415235"/>
                  <a:pt x="887003" y="386251"/>
                </a:cubicBezTo>
                <a:cubicBezTo>
                  <a:pt x="887003" y="356433"/>
                  <a:pt x="901744" y="339830"/>
                  <a:pt x="932076" y="339830"/>
                </a:cubicBezTo>
                <a:cubicBezTo>
                  <a:pt x="942577" y="339830"/>
                  <a:pt x="951393" y="341178"/>
                  <a:pt x="960369" y="344566"/>
                </a:cubicBezTo>
                <a:close/>
                <a:moveTo>
                  <a:pt x="927003" y="421497"/>
                </a:moveTo>
                <a:cubicBezTo>
                  <a:pt x="935819" y="421497"/>
                  <a:pt x="942932" y="418269"/>
                  <a:pt x="948520" y="412859"/>
                </a:cubicBezTo>
                <a:lnTo>
                  <a:pt x="948520" y="352371"/>
                </a:lnTo>
                <a:cubicBezTo>
                  <a:pt x="943429" y="351023"/>
                  <a:pt x="938178" y="350331"/>
                  <a:pt x="932076" y="350331"/>
                </a:cubicBezTo>
                <a:cubicBezTo>
                  <a:pt x="909371" y="350331"/>
                  <a:pt x="899030" y="363546"/>
                  <a:pt x="899030" y="386251"/>
                </a:cubicBezTo>
                <a:cubicBezTo>
                  <a:pt x="899048" y="408105"/>
                  <a:pt x="908520" y="421497"/>
                  <a:pt x="927003" y="421497"/>
                </a:cubicBezTo>
                <a:close/>
                <a:moveTo>
                  <a:pt x="1053566" y="372007"/>
                </a:moveTo>
                <a:lnTo>
                  <a:pt x="1053566" y="429284"/>
                </a:lnTo>
                <a:lnTo>
                  <a:pt x="1041699" y="429284"/>
                </a:lnTo>
                <a:lnTo>
                  <a:pt x="1041699" y="374225"/>
                </a:lnTo>
                <a:cubicBezTo>
                  <a:pt x="1041699" y="358473"/>
                  <a:pt x="1035774" y="350331"/>
                  <a:pt x="1014932" y="350331"/>
                </a:cubicBezTo>
                <a:cubicBezTo>
                  <a:pt x="1008830" y="350331"/>
                  <a:pt x="1001717" y="351183"/>
                  <a:pt x="995278" y="352708"/>
                </a:cubicBezTo>
                <a:lnTo>
                  <a:pt x="995278" y="429284"/>
                </a:lnTo>
                <a:lnTo>
                  <a:pt x="983411" y="429284"/>
                </a:lnTo>
                <a:lnTo>
                  <a:pt x="983411" y="344566"/>
                </a:lnTo>
                <a:cubicBezTo>
                  <a:pt x="994764" y="341515"/>
                  <a:pt x="1005779" y="339830"/>
                  <a:pt x="1015269" y="339830"/>
                </a:cubicBezTo>
                <a:cubicBezTo>
                  <a:pt x="1043916" y="339830"/>
                  <a:pt x="1053566" y="351520"/>
                  <a:pt x="1053566" y="372007"/>
                </a:cubicBezTo>
                <a:close/>
                <a:moveTo>
                  <a:pt x="1144386" y="344566"/>
                </a:moveTo>
                <a:lnTo>
                  <a:pt x="1144386" y="429284"/>
                </a:lnTo>
                <a:lnTo>
                  <a:pt x="1133371" y="429284"/>
                </a:lnTo>
                <a:lnTo>
                  <a:pt x="1133034" y="422686"/>
                </a:lnTo>
                <a:cubicBezTo>
                  <a:pt x="1127269" y="427776"/>
                  <a:pt x="1119481" y="431324"/>
                  <a:pt x="1109992" y="431324"/>
                </a:cubicBezTo>
                <a:cubicBezTo>
                  <a:pt x="1085938" y="431324"/>
                  <a:pt x="1071020" y="415235"/>
                  <a:pt x="1071020" y="386251"/>
                </a:cubicBezTo>
                <a:cubicBezTo>
                  <a:pt x="1071020" y="356433"/>
                  <a:pt x="1085761" y="339830"/>
                  <a:pt x="1116094" y="339830"/>
                </a:cubicBezTo>
                <a:cubicBezTo>
                  <a:pt x="1126595" y="339830"/>
                  <a:pt x="1135411" y="341178"/>
                  <a:pt x="1144386" y="344566"/>
                </a:cubicBezTo>
                <a:close/>
                <a:moveTo>
                  <a:pt x="1111003" y="421497"/>
                </a:moveTo>
                <a:cubicBezTo>
                  <a:pt x="1119819" y="421497"/>
                  <a:pt x="1126932" y="418269"/>
                  <a:pt x="1132519" y="412859"/>
                </a:cubicBezTo>
                <a:lnTo>
                  <a:pt x="1132519" y="352371"/>
                </a:lnTo>
                <a:cubicBezTo>
                  <a:pt x="1127428" y="351023"/>
                  <a:pt x="1122178" y="350331"/>
                  <a:pt x="1116094" y="350331"/>
                </a:cubicBezTo>
                <a:cubicBezTo>
                  <a:pt x="1093389" y="350331"/>
                  <a:pt x="1083047" y="363546"/>
                  <a:pt x="1083047" y="386251"/>
                </a:cubicBezTo>
                <a:cubicBezTo>
                  <a:pt x="1083047" y="408105"/>
                  <a:pt x="1092537" y="421497"/>
                  <a:pt x="1111003" y="421497"/>
                </a:cubicBezTo>
                <a:close/>
                <a:moveTo>
                  <a:pt x="1236217" y="344566"/>
                </a:moveTo>
                <a:lnTo>
                  <a:pt x="1236217" y="426074"/>
                </a:lnTo>
                <a:cubicBezTo>
                  <a:pt x="1236217" y="449630"/>
                  <a:pt x="1223854" y="464193"/>
                  <a:pt x="1195561" y="464193"/>
                </a:cubicBezTo>
                <a:cubicBezTo>
                  <a:pt x="1186923" y="464193"/>
                  <a:pt x="1178107" y="462668"/>
                  <a:pt x="1170142" y="459280"/>
                </a:cubicBezTo>
                <a:cubicBezTo>
                  <a:pt x="1170142" y="456388"/>
                  <a:pt x="1170657" y="451830"/>
                  <a:pt x="1171331" y="448779"/>
                </a:cubicBezTo>
                <a:cubicBezTo>
                  <a:pt x="1179118" y="452504"/>
                  <a:pt x="1188608" y="454029"/>
                  <a:pt x="1195561" y="454029"/>
                </a:cubicBezTo>
                <a:cubicBezTo>
                  <a:pt x="1213867" y="454029"/>
                  <a:pt x="1224368" y="446579"/>
                  <a:pt x="1224368" y="427599"/>
                </a:cubicBezTo>
                <a:lnTo>
                  <a:pt x="1224368" y="423023"/>
                </a:lnTo>
                <a:cubicBezTo>
                  <a:pt x="1218781" y="427936"/>
                  <a:pt x="1211153" y="431324"/>
                  <a:pt x="1201840" y="431324"/>
                </a:cubicBezTo>
                <a:cubicBezTo>
                  <a:pt x="1177787" y="431324"/>
                  <a:pt x="1162869" y="415235"/>
                  <a:pt x="1162869" y="386251"/>
                </a:cubicBezTo>
                <a:cubicBezTo>
                  <a:pt x="1162869" y="356433"/>
                  <a:pt x="1177610" y="339830"/>
                  <a:pt x="1207942" y="339830"/>
                </a:cubicBezTo>
                <a:cubicBezTo>
                  <a:pt x="1218426" y="339830"/>
                  <a:pt x="1227242" y="341178"/>
                  <a:pt x="1236217" y="344566"/>
                </a:cubicBezTo>
                <a:close/>
                <a:moveTo>
                  <a:pt x="1224350" y="412841"/>
                </a:moveTo>
                <a:lnTo>
                  <a:pt x="1224350" y="352353"/>
                </a:lnTo>
                <a:cubicBezTo>
                  <a:pt x="1219259" y="351005"/>
                  <a:pt x="1214009" y="350313"/>
                  <a:pt x="1207907" y="350313"/>
                </a:cubicBezTo>
                <a:cubicBezTo>
                  <a:pt x="1185202" y="350313"/>
                  <a:pt x="1174860" y="363528"/>
                  <a:pt x="1174860" y="386233"/>
                </a:cubicBezTo>
                <a:cubicBezTo>
                  <a:pt x="1174860" y="408087"/>
                  <a:pt x="1184350" y="421479"/>
                  <a:pt x="1202816" y="421479"/>
                </a:cubicBezTo>
                <a:cubicBezTo>
                  <a:pt x="1211650" y="421497"/>
                  <a:pt x="1218763" y="418269"/>
                  <a:pt x="1224350" y="412841"/>
                </a:cubicBezTo>
                <a:close/>
                <a:moveTo>
                  <a:pt x="1325352" y="389639"/>
                </a:moveTo>
                <a:lnTo>
                  <a:pt x="1262665" y="389639"/>
                </a:lnTo>
                <a:cubicBezTo>
                  <a:pt x="1264191" y="409967"/>
                  <a:pt x="1274869" y="420823"/>
                  <a:pt x="1294186" y="420823"/>
                </a:cubicBezTo>
                <a:cubicBezTo>
                  <a:pt x="1303339" y="420823"/>
                  <a:pt x="1313503" y="418783"/>
                  <a:pt x="1322656" y="413533"/>
                </a:cubicBezTo>
                <a:cubicBezTo>
                  <a:pt x="1322319" y="416584"/>
                  <a:pt x="1321645" y="421160"/>
                  <a:pt x="1320793" y="424885"/>
                </a:cubicBezTo>
                <a:cubicBezTo>
                  <a:pt x="1312315" y="429799"/>
                  <a:pt x="1303516" y="431324"/>
                  <a:pt x="1293849" y="431324"/>
                </a:cubicBezTo>
                <a:cubicBezTo>
                  <a:pt x="1265556" y="431324"/>
                  <a:pt x="1250638" y="414207"/>
                  <a:pt x="1250638" y="385063"/>
                </a:cubicBezTo>
                <a:cubicBezTo>
                  <a:pt x="1250638" y="359821"/>
                  <a:pt x="1261991" y="339830"/>
                  <a:pt x="1289769" y="339830"/>
                </a:cubicBezTo>
                <a:cubicBezTo>
                  <a:pt x="1315188" y="339830"/>
                  <a:pt x="1326026" y="357284"/>
                  <a:pt x="1326026" y="379138"/>
                </a:cubicBezTo>
                <a:cubicBezTo>
                  <a:pt x="1326026" y="382686"/>
                  <a:pt x="1325849" y="386251"/>
                  <a:pt x="1325352" y="389639"/>
                </a:cubicBezTo>
                <a:close/>
                <a:moveTo>
                  <a:pt x="1262647" y="378961"/>
                </a:moveTo>
                <a:lnTo>
                  <a:pt x="1314159" y="378961"/>
                </a:lnTo>
                <a:lnTo>
                  <a:pt x="1314159" y="378287"/>
                </a:lnTo>
                <a:cubicBezTo>
                  <a:pt x="1314159" y="361506"/>
                  <a:pt x="1306017" y="350154"/>
                  <a:pt x="1289255" y="350154"/>
                </a:cubicBezTo>
                <a:cubicBezTo>
                  <a:pt x="1272315" y="350154"/>
                  <a:pt x="1264013" y="361347"/>
                  <a:pt x="1262647" y="378961"/>
                </a:cubicBezTo>
                <a:close/>
                <a:moveTo>
                  <a:pt x="1470043" y="372007"/>
                </a:moveTo>
                <a:lnTo>
                  <a:pt x="1470043" y="429284"/>
                </a:lnTo>
                <a:lnTo>
                  <a:pt x="1458176" y="429284"/>
                </a:lnTo>
                <a:lnTo>
                  <a:pt x="1458176" y="373888"/>
                </a:lnTo>
                <a:cubicBezTo>
                  <a:pt x="1458176" y="358473"/>
                  <a:pt x="1450726" y="350331"/>
                  <a:pt x="1433272" y="350331"/>
                </a:cubicBezTo>
                <a:cubicBezTo>
                  <a:pt x="1425485" y="350331"/>
                  <a:pt x="1417857" y="352194"/>
                  <a:pt x="1410744" y="355245"/>
                </a:cubicBezTo>
                <a:cubicBezTo>
                  <a:pt x="1412607" y="359644"/>
                  <a:pt x="1413618" y="365249"/>
                  <a:pt x="1413618" y="372025"/>
                </a:cubicBezTo>
                <a:lnTo>
                  <a:pt x="1413618" y="429302"/>
                </a:lnTo>
                <a:lnTo>
                  <a:pt x="1401751" y="429302"/>
                </a:lnTo>
                <a:lnTo>
                  <a:pt x="1401751" y="373550"/>
                </a:lnTo>
                <a:cubicBezTo>
                  <a:pt x="1401751" y="357107"/>
                  <a:pt x="1394975" y="350331"/>
                  <a:pt x="1376846" y="350331"/>
                </a:cubicBezTo>
                <a:cubicBezTo>
                  <a:pt x="1370407" y="350331"/>
                  <a:pt x="1363117" y="351183"/>
                  <a:pt x="1356518" y="352708"/>
                </a:cubicBezTo>
                <a:lnTo>
                  <a:pt x="1356518" y="429284"/>
                </a:lnTo>
                <a:lnTo>
                  <a:pt x="1344651" y="429284"/>
                </a:lnTo>
                <a:lnTo>
                  <a:pt x="1344651" y="344566"/>
                </a:lnTo>
                <a:cubicBezTo>
                  <a:pt x="1356004" y="341515"/>
                  <a:pt x="1367197" y="339830"/>
                  <a:pt x="1378035" y="339830"/>
                </a:cubicBezTo>
                <a:cubicBezTo>
                  <a:pt x="1389902" y="339830"/>
                  <a:pt x="1398700" y="342030"/>
                  <a:pt x="1404642" y="346943"/>
                </a:cubicBezTo>
                <a:cubicBezTo>
                  <a:pt x="1413955" y="342544"/>
                  <a:pt x="1423959" y="339830"/>
                  <a:pt x="1434301" y="339830"/>
                </a:cubicBezTo>
                <a:cubicBezTo>
                  <a:pt x="1459879" y="339830"/>
                  <a:pt x="1470043" y="351520"/>
                  <a:pt x="1470043" y="372007"/>
                </a:cubicBezTo>
                <a:close/>
                <a:moveTo>
                  <a:pt x="1561538" y="389639"/>
                </a:moveTo>
                <a:lnTo>
                  <a:pt x="1498850" y="389639"/>
                </a:lnTo>
                <a:cubicBezTo>
                  <a:pt x="1500376" y="409967"/>
                  <a:pt x="1511054" y="420823"/>
                  <a:pt x="1530371" y="420823"/>
                </a:cubicBezTo>
                <a:cubicBezTo>
                  <a:pt x="1539524" y="420823"/>
                  <a:pt x="1549688" y="418783"/>
                  <a:pt x="1558841" y="413533"/>
                </a:cubicBezTo>
                <a:cubicBezTo>
                  <a:pt x="1558504" y="416584"/>
                  <a:pt x="1557830" y="421160"/>
                  <a:pt x="1556979" y="424885"/>
                </a:cubicBezTo>
                <a:cubicBezTo>
                  <a:pt x="1548500" y="429799"/>
                  <a:pt x="1539702" y="431324"/>
                  <a:pt x="1530034" y="431324"/>
                </a:cubicBezTo>
                <a:cubicBezTo>
                  <a:pt x="1501742" y="431324"/>
                  <a:pt x="1486824" y="414207"/>
                  <a:pt x="1486824" y="385063"/>
                </a:cubicBezTo>
                <a:cubicBezTo>
                  <a:pt x="1486824" y="359821"/>
                  <a:pt x="1498176" y="339830"/>
                  <a:pt x="1525972" y="339830"/>
                </a:cubicBezTo>
                <a:cubicBezTo>
                  <a:pt x="1551391" y="339830"/>
                  <a:pt x="1562229" y="357284"/>
                  <a:pt x="1562229" y="379138"/>
                </a:cubicBezTo>
                <a:cubicBezTo>
                  <a:pt x="1562212" y="382686"/>
                  <a:pt x="1562052" y="386251"/>
                  <a:pt x="1561538" y="389639"/>
                </a:cubicBezTo>
                <a:close/>
                <a:moveTo>
                  <a:pt x="1498850" y="378961"/>
                </a:moveTo>
                <a:lnTo>
                  <a:pt x="1550362" y="378961"/>
                </a:lnTo>
                <a:lnTo>
                  <a:pt x="1550362" y="378287"/>
                </a:lnTo>
                <a:cubicBezTo>
                  <a:pt x="1550362" y="361506"/>
                  <a:pt x="1542238" y="350154"/>
                  <a:pt x="1525458" y="350154"/>
                </a:cubicBezTo>
                <a:cubicBezTo>
                  <a:pt x="1508500" y="350154"/>
                  <a:pt x="1500198" y="361347"/>
                  <a:pt x="1498850" y="378961"/>
                </a:cubicBezTo>
                <a:close/>
                <a:moveTo>
                  <a:pt x="1650992" y="372007"/>
                </a:moveTo>
                <a:lnTo>
                  <a:pt x="1650992" y="429284"/>
                </a:lnTo>
                <a:lnTo>
                  <a:pt x="1639125" y="429284"/>
                </a:lnTo>
                <a:lnTo>
                  <a:pt x="1639125" y="374225"/>
                </a:lnTo>
                <a:cubicBezTo>
                  <a:pt x="1639125" y="358473"/>
                  <a:pt x="1633200" y="350331"/>
                  <a:pt x="1612358" y="350331"/>
                </a:cubicBezTo>
                <a:cubicBezTo>
                  <a:pt x="1606256" y="350331"/>
                  <a:pt x="1599143" y="351183"/>
                  <a:pt x="1592704" y="352708"/>
                </a:cubicBezTo>
                <a:lnTo>
                  <a:pt x="1592704" y="429284"/>
                </a:lnTo>
                <a:lnTo>
                  <a:pt x="1580837" y="429284"/>
                </a:lnTo>
                <a:lnTo>
                  <a:pt x="1580837" y="344566"/>
                </a:lnTo>
                <a:cubicBezTo>
                  <a:pt x="1592189" y="341515"/>
                  <a:pt x="1603205" y="339830"/>
                  <a:pt x="1612695" y="339830"/>
                </a:cubicBezTo>
                <a:cubicBezTo>
                  <a:pt x="1641342" y="339830"/>
                  <a:pt x="1650992" y="351520"/>
                  <a:pt x="1650992" y="372007"/>
                </a:cubicBezTo>
                <a:close/>
                <a:moveTo>
                  <a:pt x="1715045" y="418446"/>
                </a:moveTo>
                <a:cubicBezTo>
                  <a:pt x="1714708" y="421674"/>
                  <a:pt x="1714193" y="425400"/>
                  <a:pt x="1713519" y="428610"/>
                </a:cubicBezTo>
                <a:cubicBezTo>
                  <a:pt x="1708428" y="430473"/>
                  <a:pt x="1703515" y="431324"/>
                  <a:pt x="1698264" y="431324"/>
                </a:cubicBezTo>
                <a:cubicBezTo>
                  <a:pt x="1681998" y="431324"/>
                  <a:pt x="1671994" y="423200"/>
                  <a:pt x="1671994" y="404220"/>
                </a:cubicBezTo>
                <a:lnTo>
                  <a:pt x="1671994" y="312903"/>
                </a:lnTo>
                <a:cubicBezTo>
                  <a:pt x="1675559" y="311715"/>
                  <a:pt x="1680295" y="311041"/>
                  <a:pt x="1683861" y="311041"/>
                </a:cubicBezTo>
                <a:lnTo>
                  <a:pt x="1683861" y="342384"/>
                </a:lnTo>
                <a:lnTo>
                  <a:pt x="1714530" y="342384"/>
                </a:lnTo>
                <a:cubicBezTo>
                  <a:pt x="1714353" y="346446"/>
                  <a:pt x="1714016" y="349834"/>
                  <a:pt x="1713342" y="353063"/>
                </a:cubicBezTo>
                <a:lnTo>
                  <a:pt x="1683861" y="353063"/>
                </a:lnTo>
                <a:lnTo>
                  <a:pt x="1683861" y="402872"/>
                </a:lnTo>
                <a:cubicBezTo>
                  <a:pt x="1683861" y="415750"/>
                  <a:pt x="1689785" y="421178"/>
                  <a:pt x="1700304" y="421178"/>
                </a:cubicBezTo>
                <a:cubicBezTo>
                  <a:pt x="1705058" y="421160"/>
                  <a:pt x="1710468" y="420131"/>
                  <a:pt x="1715045" y="418446"/>
                </a:cubicBezTo>
                <a:close/>
                <a:moveTo>
                  <a:pt x="190935" y="116097"/>
                </a:moveTo>
                <a:cubicBezTo>
                  <a:pt x="190545" y="106962"/>
                  <a:pt x="187990" y="97898"/>
                  <a:pt x="183254" y="89720"/>
                </a:cubicBezTo>
                <a:lnTo>
                  <a:pt x="141534" y="17472"/>
                </a:lnTo>
                <a:cubicBezTo>
                  <a:pt x="138359" y="11956"/>
                  <a:pt x="136159" y="6049"/>
                  <a:pt x="134935" y="0"/>
                </a:cubicBezTo>
                <a:lnTo>
                  <a:pt x="133197" y="3016"/>
                </a:lnTo>
                <a:cubicBezTo>
                  <a:pt x="122873" y="20896"/>
                  <a:pt x="122873" y="42927"/>
                  <a:pt x="133197" y="60807"/>
                </a:cubicBezTo>
                <a:lnTo>
                  <a:pt x="166563" y="118598"/>
                </a:lnTo>
                <a:cubicBezTo>
                  <a:pt x="176886" y="136478"/>
                  <a:pt x="176886" y="158509"/>
                  <a:pt x="166563" y="176389"/>
                </a:cubicBezTo>
                <a:lnTo>
                  <a:pt x="164824" y="179405"/>
                </a:lnTo>
                <a:cubicBezTo>
                  <a:pt x="163600" y="173356"/>
                  <a:pt x="161401" y="167449"/>
                  <a:pt x="158226" y="161933"/>
                </a:cubicBezTo>
                <a:lnTo>
                  <a:pt x="127680" y="109037"/>
                </a:lnTo>
                <a:lnTo>
                  <a:pt x="108168" y="75264"/>
                </a:lnTo>
                <a:cubicBezTo>
                  <a:pt x="104993" y="69747"/>
                  <a:pt x="102793" y="63858"/>
                  <a:pt x="101569" y="57791"/>
                </a:cubicBezTo>
                <a:lnTo>
                  <a:pt x="99831" y="60807"/>
                </a:lnTo>
                <a:cubicBezTo>
                  <a:pt x="89543" y="78634"/>
                  <a:pt x="89507" y="100576"/>
                  <a:pt x="99725" y="118421"/>
                </a:cubicBezTo>
                <a:lnTo>
                  <a:pt x="99725" y="118421"/>
                </a:lnTo>
                <a:lnTo>
                  <a:pt x="133197" y="176389"/>
                </a:lnTo>
                <a:cubicBezTo>
                  <a:pt x="143521" y="194270"/>
                  <a:pt x="143521" y="216301"/>
                  <a:pt x="133197" y="234181"/>
                </a:cubicBezTo>
                <a:lnTo>
                  <a:pt x="131459" y="237196"/>
                </a:lnTo>
                <a:cubicBezTo>
                  <a:pt x="130235" y="231148"/>
                  <a:pt x="128035" y="225241"/>
                  <a:pt x="124860" y="219724"/>
                </a:cubicBezTo>
                <a:lnTo>
                  <a:pt x="83157" y="147494"/>
                </a:lnTo>
                <a:cubicBezTo>
                  <a:pt x="77570" y="137809"/>
                  <a:pt x="75015" y="126900"/>
                  <a:pt x="75476" y="116097"/>
                </a:cubicBezTo>
                <a:cubicBezTo>
                  <a:pt x="30811" y="127769"/>
                  <a:pt x="0" y="152531"/>
                  <a:pt x="0" y="181214"/>
                </a:cubicBezTo>
                <a:cubicBezTo>
                  <a:pt x="0" y="221108"/>
                  <a:pt x="59636" y="253462"/>
                  <a:pt x="133197" y="253462"/>
                </a:cubicBezTo>
                <a:cubicBezTo>
                  <a:pt x="206758" y="253462"/>
                  <a:pt x="266394" y="221125"/>
                  <a:pt x="266394" y="181214"/>
                </a:cubicBezTo>
                <a:cubicBezTo>
                  <a:pt x="266394" y="152531"/>
                  <a:pt x="235582" y="127751"/>
                  <a:pt x="190935" y="116097"/>
                </a:cubicBezTo>
                <a:close/>
                <a:moveTo>
                  <a:pt x="316682" y="239449"/>
                </a:moveTo>
                <a:cubicBezTo>
                  <a:pt x="317178" y="229196"/>
                  <a:pt x="318686" y="222190"/>
                  <a:pt x="321436" y="214172"/>
                </a:cubicBezTo>
                <a:cubicBezTo>
                  <a:pt x="335449" y="220682"/>
                  <a:pt x="353453" y="223928"/>
                  <a:pt x="367218" y="223928"/>
                </a:cubicBezTo>
                <a:cubicBezTo>
                  <a:pt x="390491" y="223928"/>
                  <a:pt x="403493" y="216425"/>
                  <a:pt x="403493" y="201667"/>
                </a:cubicBezTo>
                <a:cubicBezTo>
                  <a:pt x="403493" y="187157"/>
                  <a:pt x="393985" y="180398"/>
                  <a:pt x="370464" y="170146"/>
                </a:cubicBezTo>
                <a:lnTo>
                  <a:pt x="357710" y="164647"/>
                </a:lnTo>
                <a:cubicBezTo>
                  <a:pt x="334189" y="154394"/>
                  <a:pt x="318172" y="141126"/>
                  <a:pt x="318172" y="114607"/>
                </a:cubicBezTo>
                <a:cubicBezTo>
                  <a:pt x="318172" y="86084"/>
                  <a:pt x="337932" y="67813"/>
                  <a:pt x="378464" y="67813"/>
                </a:cubicBezTo>
                <a:cubicBezTo>
                  <a:pt x="394730" y="67813"/>
                  <a:pt x="409985" y="70066"/>
                  <a:pt x="424247" y="75068"/>
                </a:cubicBezTo>
                <a:cubicBezTo>
                  <a:pt x="423502" y="85073"/>
                  <a:pt x="421746" y="92824"/>
                  <a:pt x="419245" y="100097"/>
                </a:cubicBezTo>
                <a:cubicBezTo>
                  <a:pt x="405728" y="95095"/>
                  <a:pt x="389728" y="92842"/>
                  <a:pt x="378216" y="92842"/>
                </a:cubicBezTo>
                <a:cubicBezTo>
                  <a:pt x="356451" y="92842"/>
                  <a:pt x="346447" y="101357"/>
                  <a:pt x="346447" y="114607"/>
                </a:cubicBezTo>
                <a:cubicBezTo>
                  <a:pt x="346447" y="127627"/>
                  <a:pt x="356203" y="135130"/>
                  <a:pt x="373710" y="142634"/>
                </a:cubicBezTo>
                <a:lnTo>
                  <a:pt x="387227" y="148381"/>
                </a:lnTo>
                <a:cubicBezTo>
                  <a:pt x="418996" y="161897"/>
                  <a:pt x="432264" y="176159"/>
                  <a:pt x="432264" y="200425"/>
                </a:cubicBezTo>
                <a:cubicBezTo>
                  <a:pt x="432264" y="229196"/>
                  <a:pt x="410500" y="248957"/>
                  <a:pt x="367963" y="248957"/>
                </a:cubicBezTo>
                <a:cubicBezTo>
                  <a:pt x="347458" y="248957"/>
                  <a:pt x="330695" y="245941"/>
                  <a:pt x="316682" y="239449"/>
                </a:cubicBezTo>
                <a:close/>
                <a:moveTo>
                  <a:pt x="566632" y="119840"/>
                </a:moveTo>
                <a:lnTo>
                  <a:pt x="566632" y="244948"/>
                </a:lnTo>
                <a:lnTo>
                  <a:pt x="541373" y="244948"/>
                </a:lnTo>
                <a:lnTo>
                  <a:pt x="539865" y="229941"/>
                </a:lnTo>
                <a:cubicBezTo>
                  <a:pt x="532858" y="240957"/>
                  <a:pt x="522109" y="247946"/>
                  <a:pt x="504584" y="247946"/>
                </a:cubicBezTo>
                <a:cubicBezTo>
                  <a:pt x="471555" y="247946"/>
                  <a:pt x="449542" y="223928"/>
                  <a:pt x="449542" y="181888"/>
                </a:cubicBezTo>
                <a:cubicBezTo>
                  <a:pt x="449542" y="137844"/>
                  <a:pt x="473063" y="112833"/>
                  <a:pt x="519342" y="112833"/>
                </a:cubicBezTo>
                <a:cubicBezTo>
                  <a:pt x="537364" y="112833"/>
                  <a:pt x="552122" y="114838"/>
                  <a:pt x="566632" y="119840"/>
                </a:cubicBezTo>
                <a:close/>
                <a:moveTo>
                  <a:pt x="539120" y="216425"/>
                </a:moveTo>
                <a:lnTo>
                  <a:pt x="539120" y="137862"/>
                </a:lnTo>
                <a:cubicBezTo>
                  <a:pt x="533373" y="136869"/>
                  <a:pt x="527111" y="136354"/>
                  <a:pt x="519360" y="136354"/>
                </a:cubicBezTo>
                <a:cubicBezTo>
                  <a:pt x="490836" y="136354"/>
                  <a:pt x="477568" y="153862"/>
                  <a:pt x="477568" y="181888"/>
                </a:cubicBezTo>
                <a:cubicBezTo>
                  <a:pt x="477568" y="207414"/>
                  <a:pt x="487821" y="225418"/>
                  <a:pt x="512353" y="225418"/>
                </a:cubicBezTo>
                <a:cubicBezTo>
                  <a:pt x="523102" y="225436"/>
                  <a:pt x="531865" y="221924"/>
                  <a:pt x="539120" y="216425"/>
                </a:cubicBezTo>
                <a:close/>
                <a:moveTo>
                  <a:pt x="707510" y="160886"/>
                </a:moveTo>
                <a:lnTo>
                  <a:pt x="707510" y="244948"/>
                </a:lnTo>
                <a:lnTo>
                  <a:pt x="679980" y="244948"/>
                </a:lnTo>
                <a:lnTo>
                  <a:pt x="679980" y="165640"/>
                </a:lnTo>
                <a:cubicBezTo>
                  <a:pt x="679980" y="145880"/>
                  <a:pt x="673470" y="136372"/>
                  <a:pt x="645958" y="136372"/>
                </a:cubicBezTo>
                <a:cubicBezTo>
                  <a:pt x="639448" y="136372"/>
                  <a:pt x="631696" y="137117"/>
                  <a:pt x="624193" y="138376"/>
                </a:cubicBezTo>
                <a:lnTo>
                  <a:pt x="624193" y="244966"/>
                </a:lnTo>
                <a:lnTo>
                  <a:pt x="596663" y="244966"/>
                </a:lnTo>
                <a:lnTo>
                  <a:pt x="596663" y="119840"/>
                </a:lnTo>
                <a:cubicBezTo>
                  <a:pt x="614171" y="115583"/>
                  <a:pt x="633435" y="112833"/>
                  <a:pt x="646703" y="112833"/>
                </a:cubicBezTo>
                <a:cubicBezTo>
                  <a:pt x="692751" y="112833"/>
                  <a:pt x="707510" y="130607"/>
                  <a:pt x="707510" y="160886"/>
                </a:cubicBezTo>
                <a:close/>
                <a:moveTo>
                  <a:pt x="783820" y="224425"/>
                </a:moveTo>
                <a:cubicBezTo>
                  <a:pt x="791820" y="224425"/>
                  <a:pt x="799341" y="222917"/>
                  <a:pt x="805336" y="220664"/>
                </a:cubicBezTo>
                <a:cubicBezTo>
                  <a:pt x="804591" y="228168"/>
                  <a:pt x="803580" y="236682"/>
                  <a:pt x="802090" y="243937"/>
                </a:cubicBezTo>
                <a:cubicBezTo>
                  <a:pt x="794587" y="246935"/>
                  <a:pt x="786587" y="247946"/>
                  <a:pt x="778818" y="247946"/>
                </a:cubicBezTo>
                <a:cubicBezTo>
                  <a:pt x="752050" y="247946"/>
                  <a:pt x="735039" y="235689"/>
                  <a:pt x="735039" y="205161"/>
                </a:cubicBezTo>
                <a:lnTo>
                  <a:pt x="735039" y="73809"/>
                </a:lnTo>
                <a:cubicBezTo>
                  <a:pt x="743554" y="71060"/>
                  <a:pt x="754055" y="69800"/>
                  <a:pt x="762569" y="69800"/>
                </a:cubicBezTo>
                <a:lnTo>
                  <a:pt x="762569" y="117090"/>
                </a:lnTo>
                <a:lnTo>
                  <a:pt x="806099" y="117090"/>
                </a:lnTo>
                <a:cubicBezTo>
                  <a:pt x="805602" y="125605"/>
                  <a:pt x="804857" y="133356"/>
                  <a:pt x="803598" y="140611"/>
                </a:cubicBezTo>
                <a:lnTo>
                  <a:pt x="762569" y="140611"/>
                </a:lnTo>
                <a:lnTo>
                  <a:pt x="762569" y="201915"/>
                </a:lnTo>
                <a:cubicBezTo>
                  <a:pt x="762552" y="218181"/>
                  <a:pt x="770569" y="224425"/>
                  <a:pt x="783820" y="224425"/>
                </a:cubicBezTo>
                <a:close/>
                <a:moveTo>
                  <a:pt x="931456" y="119840"/>
                </a:moveTo>
                <a:lnTo>
                  <a:pt x="931456" y="244948"/>
                </a:lnTo>
                <a:lnTo>
                  <a:pt x="906178" y="244948"/>
                </a:lnTo>
                <a:lnTo>
                  <a:pt x="904671" y="229941"/>
                </a:lnTo>
                <a:cubicBezTo>
                  <a:pt x="897664" y="240957"/>
                  <a:pt x="886915" y="247946"/>
                  <a:pt x="869389" y="247946"/>
                </a:cubicBezTo>
                <a:cubicBezTo>
                  <a:pt x="836361" y="247946"/>
                  <a:pt x="814347" y="223928"/>
                  <a:pt x="814347" y="181888"/>
                </a:cubicBezTo>
                <a:cubicBezTo>
                  <a:pt x="814347" y="137844"/>
                  <a:pt x="837868" y="112833"/>
                  <a:pt x="884148" y="112833"/>
                </a:cubicBezTo>
                <a:cubicBezTo>
                  <a:pt x="902170" y="112833"/>
                  <a:pt x="916928" y="114838"/>
                  <a:pt x="931456" y="119840"/>
                </a:cubicBezTo>
                <a:close/>
                <a:moveTo>
                  <a:pt x="903926" y="216425"/>
                </a:moveTo>
                <a:lnTo>
                  <a:pt x="903926" y="137862"/>
                </a:lnTo>
                <a:cubicBezTo>
                  <a:pt x="898179" y="136869"/>
                  <a:pt x="891917" y="136354"/>
                  <a:pt x="884165" y="136354"/>
                </a:cubicBezTo>
                <a:cubicBezTo>
                  <a:pt x="855642" y="136354"/>
                  <a:pt x="842374" y="153862"/>
                  <a:pt x="842374" y="181888"/>
                </a:cubicBezTo>
                <a:cubicBezTo>
                  <a:pt x="842374" y="207414"/>
                  <a:pt x="852627" y="225418"/>
                  <a:pt x="877159" y="225418"/>
                </a:cubicBezTo>
                <a:cubicBezTo>
                  <a:pt x="887908" y="225436"/>
                  <a:pt x="896671" y="221924"/>
                  <a:pt x="903926" y="216425"/>
                </a:cubicBezTo>
                <a:close/>
                <a:moveTo>
                  <a:pt x="1072315" y="160886"/>
                </a:moveTo>
                <a:lnTo>
                  <a:pt x="1072315" y="244948"/>
                </a:lnTo>
                <a:lnTo>
                  <a:pt x="1044786" y="244948"/>
                </a:lnTo>
                <a:lnTo>
                  <a:pt x="1044786" y="165640"/>
                </a:lnTo>
                <a:cubicBezTo>
                  <a:pt x="1044786" y="145880"/>
                  <a:pt x="1038276" y="136372"/>
                  <a:pt x="1010763" y="136372"/>
                </a:cubicBezTo>
                <a:cubicBezTo>
                  <a:pt x="1004254" y="136372"/>
                  <a:pt x="996502" y="137117"/>
                  <a:pt x="988999" y="138376"/>
                </a:cubicBezTo>
                <a:lnTo>
                  <a:pt x="988999" y="244966"/>
                </a:lnTo>
                <a:lnTo>
                  <a:pt x="961469" y="244966"/>
                </a:lnTo>
                <a:lnTo>
                  <a:pt x="961469" y="119840"/>
                </a:lnTo>
                <a:cubicBezTo>
                  <a:pt x="978977" y="115583"/>
                  <a:pt x="998240" y="112833"/>
                  <a:pt x="1011508" y="112833"/>
                </a:cubicBezTo>
                <a:cubicBezTo>
                  <a:pt x="1057557" y="112833"/>
                  <a:pt x="1072315" y="130607"/>
                  <a:pt x="1072315" y="160886"/>
                </a:cubicBezTo>
                <a:close/>
                <a:moveTo>
                  <a:pt x="1211933" y="69800"/>
                </a:moveTo>
                <a:lnTo>
                  <a:pt x="1211933" y="244930"/>
                </a:lnTo>
                <a:lnTo>
                  <a:pt x="1186656" y="244930"/>
                </a:lnTo>
                <a:lnTo>
                  <a:pt x="1185149" y="228913"/>
                </a:lnTo>
                <a:cubicBezTo>
                  <a:pt x="1178142" y="240673"/>
                  <a:pt x="1167393" y="247928"/>
                  <a:pt x="1149371" y="247928"/>
                </a:cubicBezTo>
                <a:cubicBezTo>
                  <a:pt x="1116342" y="247928"/>
                  <a:pt x="1094329" y="223910"/>
                  <a:pt x="1094329" y="181871"/>
                </a:cubicBezTo>
                <a:cubicBezTo>
                  <a:pt x="1094329" y="137826"/>
                  <a:pt x="1117850" y="112815"/>
                  <a:pt x="1164129" y="112815"/>
                </a:cubicBezTo>
                <a:cubicBezTo>
                  <a:pt x="1171384" y="112815"/>
                  <a:pt x="1178142" y="113560"/>
                  <a:pt x="1184652" y="114820"/>
                </a:cubicBezTo>
                <a:lnTo>
                  <a:pt x="1184652" y="73561"/>
                </a:lnTo>
                <a:cubicBezTo>
                  <a:pt x="1193166" y="70563"/>
                  <a:pt x="1202922" y="69800"/>
                  <a:pt x="1211933" y="69800"/>
                </a:cubicBezTo>
                <a:close/>
                <a:moveTo>
                  <a:pt x="1184652" y="215928"/>
                </a:moveTo>
                <a:lnTo>
                  <a:pt x="1184652" y="138855"/>
                </a:lnTo>
                <a:cubicBezTo>
                  <a:pt x="1177397" y="137348"/>
                  <a:pt x="1169894" y="136354"/>
                  <a:pt x="1162639" y="136354"/>
                </a:cubicBezTo>
                <a:cubicBezTo>
                  <a:pt x="1135375" y="136354"/>
                  <a:pt x="1122355" y="153365"/>
                  <a:pt x="1122355" y="181888"/>
                </a:cubicBezTo>
                <a:cubicBezTo>
                  <a:pt x="1122355" y="207414"/>
                  <a:pt x="1132608" y="225418"/>
                  <a:pt x="1157140" y="225418"/>
                </a:cubicBezTo>
                <a:cubicBezTo>
                  <a:pt x="1168138" y="225436"/>
                  <a:pt x="1177149" y="221675"/>
                  <a:pt x="1184652" y="215928"/>
                </a:cubicBezTo>
                <a:close/>
                <a:moveTo>
                  <a:pt x="1350292" y="191396"/>
                </a:moveTo>
                <a:lnTo>
                  <a:pt x="1262470" y="191396"/>
                </a:lnTo>
                <a:cubicBezTo>
                  <a:pt x="1265964" y="213658"/>
                  <a:pt x="1278984" y="224425"/>
                  <a:pt x="1303499" y="224425"/>
                </a:cubicBezTo>
                <a:cubicBezTo>
                  <a:pt x="1318505" y="224425"/>
                  <a:pt x="1333778" y="221179"/>
                  <a:pt x="1347525" y="214917"/>
                </a:cubicBezTo>
                <a:cubicBezTo>
                  <a:pt x="1346532" y="222172"/>
                  <a:pt x="1345024" y="231680"/>
                  <a:pt x="1343268" y="239928"/>
                </a:cubicBezTo>
                <a:cubicBezTo>
                  <a:pt x="1330762" y="245675"/>
                  <a:pt x="1317494" y="247928"/>
                  <a:pt x="1302736" y="247928"/>
                </a:cubicBezTo>
                <a:cubicBezTo>
                  <a:pt x="1256705" y="247928"/>
                  <a:pt x="1234426" y="222403"/>
                  <a:pt x="1234426" y="179618"/>
                </a:cubicBezTo>
                <a:cubicBezTo>
                  <a:pt x="1234426" y="142332"/>
                  <a:pt x="1251685" y="112815"/>
                  <a:pt x="1295481" y="112815"/>
                </a:cubicBezTo>
                <a:cubicBezTo>
                  <a:pt x="1334753" y="112815"/>
                  <a:pt x="1351782" y="138589"/>
                  <a:pt x="1351782" y="170110"/>
                </a:cubicBezTo>
                <a:cubicBezTo>
                  <a:pt x="1351800" y="177897"/>
                  <a:pt x="1351303" y="184141"/>
                  <a:pt x="1350292" y="191396"/>
                </a:cubicBezTo>
                <a:close/>
                <a:moveTo>
                  <a:pt x="1261973" y="168390"/>
                </a:moveTo>
                <a:lnTo>
                  <a:pt x="1324022" y="168390"/>
                </a:lnTo>
                <a:cubicBezTo>
                  <a:pt x="1324022" y="147866"/>
                  <a:pt x="1313006" y="135858"/>
                  <a:pt x="1293991" y="135858"/>
                </a:cubicBezTo>
                <a:cubicBezTo>
                  <a:pt x="1274479" y="135858"/>
                  <a:pt x="1264226" y="147121"/>
                  <a:pt x="1261973" y="168390"/>
                </a:cubicBezTo>
                <a:close/>
                <a:moveTo>
                  <a:pt x="1446629" y="113844"/>
                </a:moveTo>
                <a:cubicBezTo>
                  <a:pt x="1446629" y="122110"/>
                  <a:pt x="1445635" y="132115"/>
                  <a:pt x="1444128" y="137365"/>
                </a:cubicBezTo>
                <a:cubicBezTo>
                  <a:pt x="1437618" y="136620"/>
                  <a:pt x="1431126" y="136372"/>
                  <a:pt x="1423356" y="136372"/>
                </a:cubicBezTo>
                <a:cubicBezTo>
                  <a:pt x="1416598" y="136372"/>
                  <a:pt x="1409840" y="136869"/>
                  <a:pt x="1403099" y="137880"/>
                </a:cubicBezTo>
                <a:lnTo>
                  <a:pt x="1403099" y="244966"/>
                </a:lnTo>
                <a:lnTo>
                  <a:pt x="1375569" y="244966"/>
                </a:lnTo>
                <a:lnTo>
                  <a:pt x="1375569" y="119840"/>
                </a:lnTo>
                <a:cubicBezTo>
                  <a:pt x="1387330" y="115831"/>
                  <a:pt x="1407090" y="112833"/>
                  <a:pt x="1422611" y="112833"/>
                </a:cubicBezTo>
                <a:cubicBezTo>
                  <a:pt x="1431108" y="112833"/>
                  <a:pt x="1440616" y="113099"/>
                  <a:pt x="1446629" y="113844"/>
                </a:cubicBezTo>
                <a:close/>
              </a:path>
            </a:pathLst>
          </a:custGeom>
          <a:solidFill>
            <a:schemeClr val="bg1"/>
          </a:solidFill>
          <a:ln w="1773" cap="flat">
            <a:noFill/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52848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_DT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39175EB-A6F1-4463-9476-78BB190E4B5E}"/>
              </a:ext>
            </a:extLst>
          </p:cNvPr>
          <p:cNvSpPr/>
          <p:nvPr userDrawn="1"/>
        </p:nvSpPr>
        <p:spPr>
          <a:xfrm>
            <a:off x="0" y="0"/>
            <a:ext cx="12192000" cy="698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B2CE2F8-B113-49C1-8547-184D1781E7C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32057" y="2966693"/>
            <a:ext cx="2111953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Thank</a:t>
            </a:r>
            <a:r>
              <a:rPr lang="es-ES" dirty="0"/>
              <a:t> </a:t>
            </a:r>
            <a:r>
              <a:rPr lang="es-ES" dirty="0" err="1"/>
              <a:t>you</a:t>
            </a:r>
            <a:endParaRPr lang="es-ES" dirty="0"/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49C53E21-99C2-4852-BA0C-70E066691AB7}"/>
              </a:ext>
            </a:extLst>
          </p:cNvPr>
          <p:cNvCxnSpPr>
            <a:cxnSpLocks/>
          </p:cNvCxnSpPr>
          <p:nvPr userDrawn="1"/>
        </p:nvCxnSpPr>
        <p:spPr>
          <a:xfrm>
            <a:off x="6116757" y="3109804"/>
            <a:ext cx="204065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A9BDE23-23DF-4891-80AB-6B531FD95491}"/>
              </a:ext>
            </a:extLst>
          </p:cNvPr>
          <p:cNvCxnSpPr>
            <a:cxnSpLocks/>
          </p:cNvCxnSpPr>
          <p:nvPr userDrawn="1"/>
        </p:nvCxnSpPr>
        <p:spPr>
          <a:xfrm>
            <a:off x="3832058" y="3663874"/>
            <a:ext cx="2255221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97499DA0-FC3E-4270-9383-217F6E3C6CF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47989" y="2376889"/>
            <a:ext cx="1909422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s-ES" sz="3600" dirty="0"/>
              <a:t>Gracias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0736881D-BBF2-444C-8441-265893FC95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3274" y="5925848"/>
            <a:ext cx="3181298" cy="54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963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enu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0B429C32-CFE7-4D4D-92DC-A9FFC374214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80975" y="6455099"/>
            <a:ext cx="376239" cy="180177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>
            <a:lvl1pPr algn="r">
              <a:defRPr lang="es-ES" sz="1000" b="0" i="0" smtClean="0">
                <a:solidFill>
                  <a:srgbClr val="005370"/>
                </a:solidFill>
                <a:latin typeface="Santander Headline"/>
                <a:cs typeface="Santander Headline"/>
              </a:defRPr>
            </a:lvl1pPr>
          </a:lstStyle>
          <a:p>
            <a:pPr marL="107314">
              <a:spcBef>
                <a:spcPts val="204"/>
              </a:spcBef>
            </a:pPr>
            <a:fld id="{81D60167-4931-47E6-BA6A-407CBD079E47}" type="slidenum">
              <a:rPr lang="es-ES" smtClean="0"/>
              <a:pPr marL="107314">
                <a:spcBef>
                  <a:spcPts val="204"/>
                </a:spcBef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1698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0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525BFB9F-A664-4A6B-8166-6B2BB3BBE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145"/>
            <a:ext cx="12191999" cy="5551712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BCC703BB-CD97-4DC0-9769-DBAED9EFB152}"/>
              </a:ext>
            </a:extLst>
          </p:cNvPr>
          <p:cNvSpPr/>
          <p:nvPr userDrawn="1"/>
        </p:nvSpPr>
        <p:spPr>
          <a:xfrm>
            <a:off x="0" y="653144"/>
            <a:ext cx="11955780" cy="5464174"/>
          </a:xfrm>
          <a:prstGeom prst="rect">
            <a:avLst/>
          </a:prstGeom>
          <a:gradFill flip="none" rotWithShape="1">
            <a:gsLst>
              <a:gs pos="54000">
                <a:schemeClr val="accent1">
                  <a:alpha val="36000"/>
                </a:schemeClr>
              </a:gs>
              <a:gs pos="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8BC40F42-C737-423E-8BCF-90CBAB91E4EE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BB381F8E-DC47-4F62-A060-8D0B3656EC4A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DC3012CF-A3F9-4E31-B261-1CE8089D266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E6E0B8DB-29B0-4CEE-8795-3BFF3B0207A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24052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image_05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Una persona hablando por teléfono en la calle&#10;&#10;Descripción generada automáticamente con confianza baja">
            <a:extLst>
              <a:ext uri="{FF2B5EF4-FFF2-40B4-BE49-F238E27FC236}">
                <a16:creationId xmlns:a16="http://schemas.microsoft.com/office/drawing/2014/main" id="{E846C4AB-7134-460E-A356-9F9CFC90B1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5" y="637807"/>
            <a:ext cx="12182476" cy="5896344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89065A16-2004-462F-81B2-AEBBBA83A9E8}"/>
              </a:ext>
            </a:extLst>
          </p:cNvPr>
          <p:cNvSpPr/>
          <p:nvPr userDrawn="1"/>
        </p:nvSpPr>
        <p:spPr>
          <a:xfrm>
            <a:off x="-1" y="637807"/>
            <a:ext cx="12192001" cy="6220193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71000"/>
                </a:schemeClr>
              </a:gs>
              <a:gs pos="44000">
                <a:schemeClr val="accent4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1E7C1E5-3C31-4DE9-A8EB-4D0E866E41C3}"/>
              </a:ext>
            </a:extLst>
          </p:cNvPr>
          <p:cNvGrpSpPr/>
          <p:nvPr userDrawn="1"/>
        </p:nvGrpSpPr>
        <p:grpSpPr>
          <a:xfrm>
            <a:off x="0" y="5283200"/>
            <a:ext cx="12192000" cy="1574800"/>
            <a:chOff x="0" y="5283200"/>
            <a:chExt cx="12192000" cy="1574800"/>
          </a:xfrm>
          <a:solidFill>
            <a:srgbClr val="F6F6F6"/>
          </a:solidFill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5B3C424-DB64-4A80-ABDE-080E8220A3D9}"/>
                </a:ext>
              </a:extLst>
            </p:cNvPr>
            <p:cNvSpPr/>
            <p:nvPr userDrawn="1"/>
          </p:nvSpPr>
          <p:spPr>
            <a:xfrm>
              <a:off x="6134100" y="5283200"/>
              <a:ext cx="6057900" cy="1574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FC2C37-73FD-469E-AEEB-036833F3979F}"/>
                </a:ext>
              </a:extLst>
            </p:cNvPr>
            <p:cNvSpPr/>
            <p:nvPr userDrawn="1"/>
          </p:nvSpPr>
          <p:spPr>
            <a:xfrm>
              <a:off x="0" y="6161088"/>
              <a:ext cx="6197600" cy="6969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63"/>
            </a:p>
          </p:txBody>
        </p:sp>
      </p:grp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17AEF31-2D86-48F9-9861-27D4B546456F}"/>
              </a:ext>
            </a:extLst>
          </p:cNvPr>
          <p:cNvCxnSpPr>
            <a:cxnSpLocks/>
          </p:cNvCxnSpPr>
          <p:nvPr userDrawn="1"/>
        </p:nvCxnSpPr>
        <p:spPr>
          <a:xfrm>
            <a:off x="2115054" y="3530941"/>
            <a:ext cx="40107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DBD5407F-3EB9-43A8-A3F3-F74CDA9CC5AB}"/>
              </a:ext>
            </a:extLst>
          </p:cNvPr>
          <p:cNvCxnSpPr>
            <a:cxnSpLocks/>
          </p:cNvCxnSpPr>
          <p:nvPr userDrawn="1"/>
        </p:nvCxnSpPr>
        <p:spPr>
          <a:xfrm>
            <a:off x="6147198" y="3079757"/>
            <a:ext cx="38106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3FF75DF3-7F8C-4DAE-A209-547F2A87DA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15054" y="2926738"/>
            <a:ext cx="3858206" cy="48534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340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</a:lstStyle>
          <a:p>
            <a:r>
              <a:rPr lang="es-ES" dirty="0" err="1"/>
              <a:t>Cover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15" name="Marcador de texto 4">
            <a:extLst>
              <a:ext uri="{FF2B5EF4-FFF2-40B4-BE49-F238E27FC236}">
                <a16:creationId xmlns:a16="http://schemas.microsoft.com/office/drawing/2014/main" id="{F596EFE0-11D3-4BF4-A9D4-FDDE2F9ED4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5899" y="2358876"/>
            <a:ext cx="3661974" cy="619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3400" b="0" i="0" baseline="0">
                <a:solidFill>
                  <a:schemeClr val="bg1"/>
                </a:solidFill>
                <a:latin typeface="Santander Headline" panose="020B0504020201020104" pitchFamily="34" charset="0"/>
                <a:cs typeface="Santander Headline Light" panose="020B0304020201010104" pitchFamily="34" charset="0"/>
              </a:defRPr>
            </a:lvl1pPr>
            <a:lvl2pPr marL="37147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295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14425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85900" indent="0">
              <a:buNone/>
              <a:defRPr sz="1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in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288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DFBCE102-0B1D-4047-A4E7-B62B88CB80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1" y="845991"/>
            <a:ext cx="6226630" cy="6012009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1076D1-219C-4FC1-8D80-8F1F629A9690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ED64DCC0-A7B7-4FE9-B365-612F9ECAB20E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8011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verde, alfombra&#10;&#10;Descripción generada automáticamente">
            <a:extLst>
              <a:ext uri="{FF2B5EF4-FFF2-40B4-BE49-F238E27FC236}">
                <a16:creationId xmlns:a16="http://schemas.microsoft.com/office/drawing/2014/main" id="{7C2D42DF-40DF-4E77-911C-4D86E599CE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0" y="873125"/>
            <a:ext cx="6226630" cy="5984875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46E030D6-43DE-460E-851D-BE19C1324EF9}"/>
              </a:ext>
            </a:extLst>
          </p:cNvPr>
          <p:cNvCxnSpPr>
            <a:cxnSpLocks/>
          </p:cNvCxnSpPr>
          <p:nvPr userDrawn="1"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DB9FE630-C55B-455F-ADB3-F0E349F8428F}"/>
              </a:ext>
            </a:extLst>
          </p:cNvPr>
          <p:cNvCxnSpPr>
            <a:cxnSpLocks/>
          </p:cNvCxnSpPr>
          <p:nvPr userDrawn="1"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6921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61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image" Target="../media/image2.sv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áfico 4">
            <a:extLst>
              <a:ext uri="{FF2B5EF4-FFF2-40B4-BE49-F238E27FC236}">
                <a16:creationId xmlns:a16="http://schemas.microsoft.com/office/drawing/2014/main" id="{084ED6BD-187A-4FFC-83BA-17554F434F2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42913" y="273212"/>
            <a:ext cx="838460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702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835" r:id="rId2"/>
    <p:sldLayoutId id="2147483837" r:id="rId3"/>
    <p:sldLayoutId id="2147483876" r:id="rId4"/>
    <p:sldLayoutId id="2147483877" r:id="rId5"/>
    <p:sldLayoutId id="2147483879" r:id="rId6"/>
    <p:sldLayoutId id="2147483881" r:id="rId7"/>
    <p:sldLayoutId id="2147483667" r:id="rId8"/>
    <p:sldLayoutId id="2147483846" r:id="rId9"/>
    <p:sldLayoutId id="2147483848" r:id="rId10"/>
    <p:sldLayoutId id="2147483747" r:id="rId11"/>
    <p:sldLayoutId id="2147483864" r:id="rId12"/>
    <p:sldLayoutId id="2147483852" r:id="rId13"/>
    <p:sldLayoutId id="2147483865" r:id="rId14"/>
    <p:sldLayoutId id="2147483853" r:id="rId15"/>
    <p:sldLayoutId id="2147483866" r:id="rId16"/>
    <p:sldLayoutId id="2147483855" r:id="rId17"/>
    <p:sldLayoutId id="2147483868" r:id="rId18"/>
    <p:sldLayoutId id="2147483785" r:id="rId19"/>
    <p:sldLayoutId id="2147483740" r:id="rId20"/>
    <p:sldLayoutId id="2147483789" r:id="rId21"/>
    <p:sldLayoutId id="2147483863" r:id="rId22"/>
    <p:sldLayoutId id="2147483862" r:id="rId23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13" userDrawn="1">
          <p15:clr>
            <a:srgbClr val="F26B43"/>
          </p15:clr>
        </p15:guide>
        <p15:guide id="3" orient="horz" pos="550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orient="horz" pos="278" userDrawn="1">
          <p15:clr>
            <a:srgbClr val="F26B43"/>
          </p15:clr>
        </p15:guide>
        <p15:guide id="6" pos="2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áfico 6">
            <a:extLst>
              <a:ext uri="{FF2B5EF4-FFF2-40B4-BE49-F238E27FC236}">
                <a16:creationId xmlns:a16="http://schemas.microsoft.com/office/drawing/2014/main" id="{4C123C35-58CB-4CF7-8A8B-06A19277FE58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42913" y="273212"/>
            <a:ext cx="838460" cy="19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35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9" r:id="rId2"/>
    <p:sldLayoutId id="2147483771" r:id="rId3"/>
    <p:sldLayoutId id="2147483829" r:id="rId4"/>
    <p:sldLayoutId id="2147483772" r:id="rId5"/>
    <p:sldLayoutId id="2147483832" r:id="rId6"/>
    <p:sldLayoutId id="2147483773" r:id="rId7"/>
    <p:sldLayoutId id="2147483831" r:id="rId8"/>
    <p:sldLayoutId id="2147483774" r:id="rId9"/>
    <p:sldLayoutId id="2147483833" r:id="rId10"/>
    <p:sldLayoutId id="2147483775" r:id="rId11"/>
    <p:sldLayoutId id="2147483830" r:id="rId12"/>
    <p:sldLayoutId id="2147483794" r:id="rId13"/>
    <p:sldLayoutId id="2147483735" r:id="rId14"/>
    <p:sldLayoutId id="2147483741" r:id="rId15"/>
    <p:sldLayoutId id="2147483757" r:id="rId16"/>
    <p:sldLayoutId id="2147483758" r:id="rId17"/>
    <p:sldLayoutId id="2147483793" r:id="rId18"/>
    <p:sldLayoutId id="2147483796" r:id="rId19"/>
    <p:sldLayoutId id="2147483795" r:id="rId20"/>
    <p:sldLayoutId id="2147483797" r:id="rId21"/>
    <p:sldLayoutId id="2147483798" r:id="rId22"/>
    <p:sldLayoutId id="2147483736" r:id="rId23"/>
    <p:sldLayoutId id="2147483770" r:id="rId24"/>
    <p:sldLayoutId id="2147483738" r:id="rId25"/>
    <p:sldLayoutId id="2147483765" r:id="rId26"/>
    <p:sldLayoutId id="2147483826" r:id="rId27"/>
    <p:sldLayoutId id="2147483827" r:id="rId28"/>
    <p:sldLayoutId id="2147483882" r:id="rId29"/>
    <p:sldLayoutId id="2147483883" r:id="rId30"/>
    <p:sldLayoutId id="2147483884" r:id="rId3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01" userDrawn="1">
          <p15:clr>
            <a:srgbClr val="F26B43"/>
          </p15:clr>
        </p15:guide>
        <p15:guide id="2" pos="3024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orient="horz" pos="232" userDrawn="1">
          <p15:clr>
            <a:srgbClr val="F26B43"/>
          </p15:clr>
        </p15:guide>
        <p15:guide id="6" orient="horz" pos="504" userDrawn="1">
          <p15:clr>
            <a:srgbClr val="F26B43"/>
          </p15:clr>
        </p15:guide>
        <p15:guide id="7" pos="3386" userDrawn="1">
          <p15:clr>
            <a:srgbClr val="F26B43"/>
          </p15:clr>
        </p15:guide>
        <p15:guide id="8" pos="279" userDrawn="1">
          <p15:clr>
            <a:srgbClr val="F26B43"/>
          </p15:clr>
        </p15:guide>
        <p15:guide id="9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2.xml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x.com/i/broadcasts/1lDGLzplWnyx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thropic.com/research/reasoning-models-dont-say-think?utm_campaign=The%20Batch&amp;utm_medium=email&amp;_hsenc=p2ANqtz-_rZC4gn9lPVCxN2WNZtA_-6wJd32DTWIqo0OFuimwhHkXff8Rgj0l66Nu9lqSgighIEVQgvALCdox3zQ-KYpY-BgGiUgX1Ctz47IMlJUrnooA9V54&amp;_hsmi=369583020&amp;utm_content=369576782&amp;utm_source=hs_emai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502.06776?utm_campaign=The%20Batch&amp;utm_medium=email&amp;_hsenc=p2ANqtz-8yVbRM15zORJbOYogxl6Qgd22lQ1wies-9FskMQKzNApwF8TVm5J-3s3vof7NmA3UWB6Gs-vVJeV_q0Bn9y7Vv-PGn1z7bWqJF5ewrwCGfgaHwjfA&amp;_hsmi=370580449&amp;utm_content=370572936&amp;utm_source=hs_emai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runch.com/2025/07/09/perplexity-launches-comet-an-ai-powered-web-browser/?utm_source=substack&amp;utm_medium=emai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xponentialview.co/p/how-serious-is-googles-chatgpt-problem?utm_source=post-email-title&amp;publication_id=2252&amp;post_id=166979752&amp;utm_campaign=email-post-title&amp;isFreemail=true&amp;r=5v3fpq&amp;triedRedirect=true&amp;utm_medium=emai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hyperlink" Target="https://substack.com/redirect/c69a76a6-7839-422d-8f93-e84149de7288?j=eyJ1IjoiNXYzZnBxIn0.vXbCuSsQ6spBRBAi9W9wObAulr6jERKdZfn3R_v1_PU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information.com/briefings/mgx-talks-participate-1-billion-mistral-fundraising?utm_source=substack&amp;utm_medium=emai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DD5914-BCDC-CF29-39B4-D03CEA154C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D5914-BCDC-CF29-39B4-D03CEA154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6"/>
          <p:cNvSpPr txBox="1"/>
          <p:nvPr/>
        </p:nvSpPr>
        <p:spPr>
          <a:xfrm>
            <a:off x="767875" y="5643884"/>
            <a:ext cx="3253104" cy="40908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88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500" kern="0" dirty="0">
                <a:solidFill>
                  <a:srgbClr val="FFFFFF"/>
                </a:solidFill>
                <a:latin typeface="Santander Headline"/>
                <a:cs typeface="Santander Headline"/>
              </a:rPr>
              <a:t>14</a:t>
            </a:r>
            <a:r>
              <a:rPr kumimoji="0" lang="es-E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Headline"/>
                <a:ea typeface="+mn-ea"/>
                <a:cs typeface="Santander Headline"/>
              </a:rPr>
              <a:t> </a:t>
            </a:r>
            <a:r>
              <a:rPr kumimoji="0" lang="es-ES" sz="25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Headline"/>
                <a:ea typeface="+mn-ea"/>
                <a:cs typeface="Santander Headline"/>
              </a:rPr>
              <a:t>July</a:t>
            </a:r>
            <a:r>
              <a:rPr kumimoji="0" lang="es-E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Headline"/>
                <a:ea typeface="+mn-ea"/>
                <a:cs typeface="Santander Headline"/>
              </a:rPr>
              <a:t> 2025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antander Headline"/>
              <a:ea typeface="+mn-ea"/>
              <a:cs typeface="Santander Headline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2ABA22D-F23D-20AB-0DA8-B06D42BD65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35145" y="1534596"/>
            <a:ext cx="8687529" cy="1762214"/>
          </a:xfrm>
          <a:prstGeom prst="rect">
            <a:avLst/>
          </a:prstGeom>
        </p:spPr>
        <p:txBody>
          <a:bodyPr vert="horz" wrap="square" lIns="0" tIns="168275" rIns="0" bIns="0" rtlCol="0">
            <a:spAutoFit/>
          </a:bodyPr>
          <a:lstStyle/>
          <a:p>
            <a:pPr marL="0" marR="5080" indent="0">
              <a:lnSpc>
                <a:spcPts val="6000"/>
              </a:lnSpc>
              <a:spcBef>
                <a:spcPts val="1325"/>
              </a:spcBef>
              <a:buNone/>
            </a:pPr>
            <a:r>
              <a:rPr lang="en-US" sz="6000" dirty="0">
                <a:solidFill>
                  <a:schemeClr val="bg1"/>
                </a:solidFill>
                <a:latin typeface="Santander Text Light" panose="020B0304020201020104" pitchFamily="34" charset="0"/>
                <a:cs typeface="Santander Headline Light"/>
              </a:rPr>
              <a:t>Investments AI Circle</a:t>
            </a:r>
            <a:endParaRPr lang="en-US" sz="4000" dirty="0">
              <a:solidFill>
                <a:schemeClr val="bg1"/>
              </a:solidFill>
              <a:latin typeface="Santander Text Light" panose="020B0304020201020104" pitchFamily="34" charset="0"/>
              <a:cs typeface="Santander Headline Light"/>
            </a:endParaRPr>
          </a:p>
          <a:p>
            <a:pPr marL="0" marR="5080" indent="0">
              <a:lnSpc>
                <a:spcPts val="6000"/>
              </a:lnSpc>
              <a:spcBef>
                <a:spcPts val="1325"/>
              </a:spcBef>
              <a:buNone/>
            </a:pPr>
            <a:r>
              <a:rPr lang="en-US" sz="2400" b="1" dirty="0">
                <a:solidFill>
                  <a:schemeClr val="bg1"/>
                </a:solidFill>
                <a:latin typeface="Santander Text" panose="020B0504020201020104" pitchFamily="34" charset="0"/>
                <a:cs typeface="Santander Headline Light"/>
              </a:rPr>
              <a:t>FOLLOW-UP</a:t>
            </a:r>
            <a:endParaRPr lang="en-US" sz="4000" b="1" dirty="0">
              <a:solidFill>
                <a:schemeClr val="bg1"/>
              </a:solidFill>
              <a:latin typeface="Santander Text" panose="020B0504020201020104" pitchFamily="34" charset="0"/>
              <a:cs typeface="Santander Headline Ligh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D7694B-DC3F-C7D0-5539-95CA7A6D0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BF237D39-D270-B700-C58D-329CBE5B0EBE}"/>
              </a:ext>
            </a:extLst>
          </p:cNvPr>
          <p:cNvSpPr txBox="1">
            <a:spLocks/>
          </p:cNvSpPr>
          <p:nvPr/>
        </p:nvSpPr>
        <p:spPr>
          <a:xfrm>
            <a:off x="376505" y="2445530"/>
            <a:ext cx="7243493" cy="415069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Benefits</a:t>
            </a:r>
            <a:endParaRPr lang="en-US" sz="14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nsistency &amp; Scale: automated, disciplined coverage across multiple asset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tatistical Rigor: walk-forward validation and Monte Carlo simulations ensure historical robustnes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ransparent Decision-Making: includes entry, stop, target, and rationale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ctical Management: score changes help trigger entry, hold, or exit action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top Monitoring: both technical and statistical stops are logged and tracked.</a:t>
            </a:r>
            <a:endParaRPr lang="pt-BR" sz="1400" b="1" dirty="0">
              <a:latin typeface="+mn-lt"/>
            </a:endParaRPr>
          </a:p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Challenges</a:t>
            </a:r>
            <a:r>
              <a:rPr lang="pt-BR" sz="1400" b="1" dirty="0">
                <a:latin typeface="+mn-lt"/>
              </a:rPr>
              <a:t>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Parameter Sensitivity: tuning window lengths and weights can impact signal stability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egime Drift: market behavior shifts require periodic recalibra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xplainability: translating multiple signals into a concise, committee-ready pitch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utomation &amp; Scalability: input is still manual — scaling to more assets remains a challenge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+mn-lt"/>
              </a:rPr>
              <a:t>Potential for Continuous Improvement: scores archived and compared with future outcomes.</a:t>
            </a: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9E06F61B-288C-8438-A04D-4615C2147A13}"/>
              </a:ext>
            </a:extLst>
          </p:cNvPr>
          <p:cNvGrpSpPr/>
          <p:nvPr/>
        </p:nvGrpSpPr>
        <p:grpSpPr>
          <a:xfrm>
            <a:off x="8211715" y="1443316"/>
            <a:ext cx="3462725" cy="5272688"/>
            <a:chOff x="7809145" y="875147"/>
            <a:chExt cx="3865296" cy="5885682"/>
          </a:xfrm>
        </p:grpSpPr>
        <p:grpSp>
          <p:nvGrpSpPr>
            <p:cNvPr id="10" name="Agrupar 9">
              <a:extLst>
                <a:ext uri="{FF2B5EF4-FFF2-40B4-BE49-F238E27FC236}">
                  <a16:creationId xmlns:a16="http://schemas.microsoft.com/office/drawing/2014/main" id="{5046F973-3899-82A4-CACE-6E6153DB6E9A}"/>
                </a:ext>
              </a:extLst>
            </p:cNvPr>
            <p:cNvGrpSpPr/>
            <p:nvPr/>
          </p:nvGrpSpPr>
          <p:grpSpPr>
            <a:xfrm>
              <a:off x="7889828" y="1153649"/>
              <a:ext cx="3784613" cy="5607180"/>
              <a:chOff x="7815716" y="820123"/>
              <a:chExt cx="4208652" cy="5905840"/>
            </a:xfrm>
          </p:grpSpPr>
          <p:pic>
            <p:nvPicPr>
              <p:cNvPr id="24" name="Imagem 23">
                <a:extLst>
                  <a:ext uri="{FF2B5EF4-FFF2-40B4-BE49-F238E27FC236}">
                    <a16:creationId xmlns:a16="http://schemas.microsoft.com/office/drawing/2014/main" id="{A9F975F8-6DF8-3A34-3EA8-EAD2B90E52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15716" y="820123"/>
                <a:ext cx="3435510" cy="2141893"/>
              </a:xfrm>
              <a:prstGeom prst="rect">
                <a:avLst/>
              </a:prstGeom>
            </p:spPr>
          </p:pic>
          <p:pic>
            <p:nvPicPr>
              <p:cNvPr id="4" name="Imagem 3">
                <a:extLst>
                  <a:ext uri="{FF2B5EF4-FFF2-40B4-BE49-F238E27FC236}">
                    <a16:creationId xmlns:a16="http://schemas.microsoft.com/office/drawing/2014/main" id="{4CCB0BAA-4581-158A-4D83-4916C8E1DB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15716" y="2962016"/>
                <a:ext cx="2986340" cy="803267"/>
              </a:xfrm>
              <a:prstGeom prst="rect">
                <a:avLst/>
              </a:prstGeom>
            </p:spPr>
          </p:pic>
          <p:pic>
            <p:nvPicPr>
              <p:cNvPr id="7" name="Imagem 6">
                <a:extLst>
                  <a:ext uri="{FF2B5EF4-FFF2-40B4-BE49-F238E27FC236}">
                    <a16:creationId xmlns:a16="http://schemas.microsoft.com/office/drawing/2014/main" id="{D94D2FFC-351D-5B00-F8E5-75BD8493A3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15716" y="3657188"/>
                <a:ext cx="3097750" cy="1941179"/>
              </a:xfrm>
              <a:prstGeom prst="rect">
                <a:avLst/>
              </a:prstGeom>
            </p:spPr>
          </p:pic>
          <p:pic>
            <p:nvPicPr>
              <p:cNvPr id="9" name="Imagem 8">
                <a:extLst>
                  <a:ext uri="{FF2B5EF4-FFF2-40B4-BE49-F238E27FC236}">
                    <a16:creationId xmlns:a16="http://schemas.microsoft.com/office/drawing/2014/main" id="{3B4B0E94-3208-AE56-7BA2-A3CA541B7D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15716" y="5598367"/>
                <a:ext cx="4208652" cy="1127596"/>
              </a:xfrm>
              <a:prstGeom prst="rect">
                <a:avLst/>
              </a:prstGeom>
            </p:spPr>
          </p:pic>
        </p:grp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A99621F8-98AA-DF49-20CD-50FD9F6FC24C}"/>
                </a:ext>
              </a:extLst>
            </p:cNvPr>
            <p:cNvSpPr txBox="1"/>
            <p:nvPr/>
          </p:nvSpPr>
          <p:spPr>
            <a:xfrm>
              <a:off x="7809145" y="875147"/>
              <a:ext cx="34392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buClr>
                  <a:srgbClr val="C00000"/>
                </a:buClr>
              </a:pPr>
              <a:r>
                <a:rPr lang="en-US" sz="1200" b="1" dirty="0">
                  <a:latin typeface="+mn-lt"/>
                </a:rPr>
                <a:t>Example: </a:t>
              </a:r>
              <a:r>
                <a:rPr lang="en-US" sz="1200" dirty="0"/>
                <a:t>Live Output Snapshot – Jul 8, 2025</a:t>
              </a:r>
              <a:endParaRPr lang="en-US" sz="1200" b="1" dirty="0">
                <a:latin typeface="+mn-lt"/>
              </a:endParaRPr>
            </a:p>
          </p:txBody>
        </p:sp>
      </p:grpSp>
      <p:sp>
        <p:nvSpPr>
          <p:cNvPr id="3" name="Título 1">
            <a:extLst>
              <a:ext uri="{FF2B5EF4-FFF2-40B4-BE49-F238E27FC236}">
                <a16:creationId xmlns:a16="http://schemas.microsoft.com/office/drawing/2014/main" id="{A722C5F9-7A90-DD3F-2A30-A3FD24B5D877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2.1) Technical Analyst GPT – Systematic Market Intelligence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04858CC-2340-4FCD-5F6A-4D896098F15D}"/>
              </a:ext>
            </a:extLst>
          </p:cNvPr>
          <p:cNvSpPr/>
          <p:nvPr/>
        </p:nvSpPr>
        <p:spPr>
          <a:xfrm>
            <a:off x="8148916" y="1392518"/>
            <a:ext cx="3564000" cy="5400000"/>
          </a:xfrm>
          <a:prstGeom prst="rect">
            <a:avLst/>
          </a:prstGeom>
          <a:noFill/>
          <a:ln w="19050">
            <a:solidFill>
              <a:srgbClr val="0081A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224C569-B187-FF8F-EEA5-75A0B7333946}"/>
              </a:ext>
            </a:extLst>
          </p:cNvPr>
          <p:cNvSpPr txBox="1"/>
          <p:nvPr/>
        </p:nvSpPr>
        <p:spPr>
          <a:xfrm>
            <a:off x="376505" y="1392518"/>
            <a:ext cx="7306292" cy="95410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sz="1400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at is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Technical decision GPT assigning position scores from –3 to +3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Full pipeline: indicators → back-test → risk management → pattern recognition → score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Works across equities, FX, fixed income, and commodities.</a:t>
            </a:r>
          </a:p>
        </p:txBody>
      </p:sp>
    </p:spTree>
    <p:extLst>
      <p:ext uri="{BB962C8B-B14F-4D97-AF65-F5344CB8AC3E}">
        <p14:creationId xmlns:p14="http://schemas.microsoft.com/office/powerpoint/2010/main" val="892918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5B6090-DCF3-3DC0-058D-0048C8241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DEEE8A5F-18D1-85D5-40A2-20B334FF7BDA}"/>
              </a:ext>
            </a:extLst>
          </p:cNvPr>
          <p:cNvSpPr txBox="1">
            <a:spLocks/>
          </p:cNvSpPr>
          <p:nvPr/>
        </p:nvSpPr>
        <p:spPr>
          <a:xfrm>
            <a:off x="364612" y="2799970"/>
            <a:ext cx="7306292" cy="3852287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Benefits</a:t>
            </a:r>
            <a:endParaRPr lang="en-US" sz="14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nalytical Scale: automatically processes dozens of emails and sources daily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matic Synthesis: consolidates sentiment scores by topic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ntraday Tactical Insight: daily sentiment index can support tactical allocation decision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Broker Summary: aggregates key themes by sender, enabling analysis of institutional bias (buy/sell tendency)</a:t>
            </a:r>
            <a:r>
              <a:rPr lang="en-US" sz="1400" b="1" dirty="0">
                <a:solidFill>
                  <a:srgbClr val="FF0000"/>
                </a:solidFill>
              </a:rPr>
              <a:t>*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ivergence Table: structured by theme, highlights consensus and disagreement among broker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Historical Monitoring: builds a sentiment time series to compare with market performance</a:t>
            </a:r>
            <a:r>
              <a:rPr lang="en-US" sz="1400" b="1" dirty="0">
                <a:solidFill>
                  <a:srgbClr val="FF0000"/>
                </a:solidFill>
              </a:rPr>
              <a:t>*</a:t>
            </a:r>
          </a:p>
          <a:p>
            <a:pPr algn="just">
              <a:buClr>
                <a:srgbClr val="C00000"/>
              </a:buClr>
            </a:pPr>
            <a:r>
              <a:rPr lang="pt-BR" sz="1400" b="1" dirty="0" err="1">
                <a:latin typeface="+mn-lt"/>
              </a:rPr>
              <a:t>Challenges</a:t>
            </a:r>
            <a:r>
              <a:rPr lang="pt-BR" sz="1400" b="1" dirty="0">
                <a:latin typeface="+mn-lt"/>
              </a:rPr>
              <a:t>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oise &amp; Ambiguity: filtering irrelevant buzz and capturing real tone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Multilingual Context &amp; Interpretation: capturing tone, irony, and jargon across languages.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eal-Time Scalability: requires robust infrastructure for live analysi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tatistical Correlation: still evolving how to link sentiment patterns to asset performance.</a:t>
            </a:r>
          </a:p>
          <a:p>
            <a:pPr>
              <a:spcBef>
                <a:spcPts val="0"/>
              </a:spcBef>
              <a:buClr>
                <a:srgbClr val="C00000"/>
              </a:buClr>
            </a:pPr>
            <a:r>
              <a:rPr lang="pt-BR" sz="1000" dirty="0"/>
              <a:t>								</a:t>
            </a:r>
            <a:r>
              <a:rPr lang="pt-BR" sz="1000" b="1" dirty="0">
                <a:solidFill>
                  <a:srgbClr val="FF0000"/>
                </a:solidFill>
              </a:rPr>
              <a:t>           *</a:t>
            </a:r>
            <a:r>
              <a:rPr lang="pt-BR" sz="1000" b="1" dirty="0" err="1">
                <a:solidFill>
                  <a:srgbClr val="FF0000"/>
                </a:solidFill>
              </a:rPr>
              <a:t>Work</a:t>
            </a:r>
            <a:r>
              <a:rPr lang="pt-BR" sz="1000" b="1" dirty="0">
                <a:solidFill>
                  <a:srgbClr val="FF0000"/>
                </a:solidFill>
              </a:rPr>
              <a:t> in </a:t>
            </a:r>
            <a:r>
              <a:rPr lang="pt-BR" sz="1000" b="1" dirty="0" err="1">
                <a:solidFill>
                  <a:srgbClr val="FF0000"/>
                </a:solidFill>
              </a:rPr>
              <a:t>progress</a:t>
            </a:r>
            <a:br>
              <a:rPr lang="en-US" sz="1000" dirty="0"/>
            </a:br>
            <a:br>
              <a:rPr lang="en-US" sz="1000" dirty="0"/>
            </a:br>
            <a:endParaRPr lang="en-US" sz="1000" dirty="0">
              <a:latin typeface="+mn-lt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AB5B2EFA-601D-5610-8D33-DFBC14686DF4}"/>
              </a:ext>
            </a:extLst>
          </p:cNvPr>
          <p:cNvGrpSpPr/>
          <p:nvPr/>
        </p:nvGrpSpPr>
        <p:grpSpPr>
          <a:xfrm>
            <a:off x="8223801" y="1416422"/>
            <a:ext cx="3062764" cy="5307549"/>
            <a:chOff x="7820451" y="804702"/>
            <a:chExt cx="3457149" cy="5990990"/>
          </a:xfrm>
        </p:grpSpPr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6B9CE5C8-2601-5FB5-39D6-70354ED27F52}"/>
                </a:ext>
              </a:extLst>
            </p:cNvPr>
            <p:cNvGrpSpPr/>
            <p:nvPr/>
          </p:nvGrpSpPr>
          <p:grpSpPr>
            <a:xfrm>
              <a:off x="7892891" y="1102659"/>
              <a:ext cx="3384709" cy="5693033"/>
              <a:chOff x="7857032" y="868713"/>
              <a:chExt cx="3707450" cy="5892377"/>
            </a:xfrm>
          </p:grpSpPr>
          <p:pic>
            <p:nvPicPr>
              <p:cNvPr id="5" name="Imagem 4">
                <a:extLst>
                  <a:ext uri="{FF2B5EF4-FFF2-40B4-BE49-F238E27FC236}">
                    <a16:creationId xmlns:a16="http://schemas.microsoft.com/office/drawing/2014/main" id="{F57AC905-E0AB-6A1C-3F0C-EC7304ED52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57032" y="868713"/>
                <a:ext cx="3707450" cy="4782473"/>
              </a:xfrm>
              <a:prstGeom prst="rect">
                <a:avLst/>
              </a:prstGeom>
            </p:spPr>
          </p:pic>
          <p:pic>
            <p:nvPicPr>
              <p:cNvPr id="11" name="Imagem 10">
                <a:extLst>
                  <a:ext uri="{FF2B5EF4-FFF2-40B4-BE49-F238E27FC236}">
                    <a16:creationId xmlns:a16="http://schemas.microsoft.com/office/drawing/2014/main" id="{13005EA8-67DE-262B-487B-C1A980DA7F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57032" y="5651186"/>
                <a:ext cx="2114103" cy="1109904"/>
              </a:xfrm>
              <a:prstGeom prst="rect">
                <a:avLst/>
              </a:prstGeom>
            </p:spPr>
          </p:pic>
        </p:grp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F02F3212-2E0C-081E-7454-42E0BD0B6A64}"/>
                </a:ext>
              </a:extLst>
            </p:cNvPr>
            <p:cNvSpPr txBox="1"/>
            <p:nvPr/>
          </p:nvSpPr>
          <p:spPr>
            <a:xfrm>
              <a:off x="7820451" y="804702"/>
              <a:ext cx="34392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buClr>
                  <a:srgbClr val="C00000"/>
                </a:buClr>
              </a:pPr>
              <a:r>
                <a:rPr lang="en-US" sz="1200" b="1" dirty="0">
                  <a:latin typeface="+mn-lt"/>
                </a:rPr>
                <a:t>Example: </a:t>
              </a:r>
              <a:r>
                <a:rPr lang="en-US" sz="1200" dirty="0"/>
                <a:t>Live Output Snapshot – Jul 8, 2025</a:t>
              </a:r>
              <a:endParaRPr lang="en-US" sz="1200" b="1" dirty="0">
                <a:latin typeface="+mn-lt"/>
              </a:endParaRPr>
            </a:p>
          </p:txBody>
        </p:sp>
      </p:grpSp>
      <p:sp>
        <p:nvSpPr>
          <p:cNvPr id="4" name="Título 1">
            <a:extLst>
              <a:ext uri="{FF2B5EF4-FFF2-40B4-BE49-F238E27FC236}">
                <a16:creationId xmlns:a16="http://schemas.microsoft.com/office/drawing/2014/main" id="{3C7CFE95-A35B-28F5-F3AF-528E716492EA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2.2) Sentiment Index GPT – Thematic Sentiment Dashboard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DB1F511-240F-91EB-C455-84443DE6C087}"/>
              </a:ext>
            </a:extLst>
          </p:cNvPr>
          <p:cNvSpPr/>
          <p:nvPr/>
        </p:nvSpPr>
        <p:spPr>
          <a:xfrm>
            <a:off x="8148916" y="1392518"/>
            <a:ext cx="3564000" cy="5400000"/>
          </a:xfrm>
          <a:prstGeom prst="rect">
            <a:avLst/>
          </a:prstGeom>
          <a:noFill/>
          <a:ln w="19050">
            <a:solidFill>
              <a:srgbClr val="0081A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52FF129-2BF4-FE34-DEBF-69E30C9F2AAE}"/>
              </a:ext>
            </a:extLst>
          </p:cNvPr>
          <p:cNvSpPr txBox="1"/>
          <p:nvPr/>
        </p:nvSpPr>
        <p:spPr>
          <a:xfrm>
            <a:off x="376505" y="1392518"/>
            <a:ext cx="7306292" cy="95410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sz="1400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at is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GPT for continuous sentiment scoring in text data (–1 to +1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Sources include sell-side emails, news articles, social media, regulatory filing, etc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Santander Text" panose="020B0504020201020104" pitchFamily="34" charset="0"/>
              </a:rPr>
              <a:t>Classifies and scores themes such as inflation, tech, banks, fiscal policy, China, etc.</a:t>
            </a:r>
          </a:p>
        </p:txBody>
      </p:sp>
    </p:spTree>
    <p:extLst>
      <p:ext uri="{BB962C8B-B14F-4D97-AF65-F5344CB8AC3E}">
        <p14:creationId xmlns:p14="http://schemas.microsoft.com/office/powerpoint/2010/main" val="3854340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0595FF-2DE8-A8D8-B93B-B4869F081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8F2DBA0A-EEA9-1888-FDDE-3D397BDE5E15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2.3) Python built AI agents: News Content and Research Analysis - Overview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F2BF48F-9CF4-26B3-B0C2-5198AD22D83D}"/>
              </a:ext>
            </a:extLst>
          </p:cNvPr>
          <p:cNvSpPr txBox="1"/>
          <p:nvPr/>
        </p:nvSpPr>
        <p:spPr>
          <a:xfrm>
            <a:off x="439258" y="1505413"/>
            <a:ext cx="11309829" cy="203132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just"/>
            <a:r>
              <a:rPr lang="en-US" sz="1400" b="1" u="sng" dirty="0"/>
              <a:t>What is:</a:t>
            </a:r>
          </a:p>
          <a:p>
            <a:pPr algn="just"/>
            <a:r>
              <a:rPr lang="en-US" sz="1400" dirty="0"/>
              <a:t>AI agents built in Python to simplify and automate resuming process for News &amp; Research.</a:t>
            </a:r>
          </a:p>
          <a:p>
            <a:pPr algn="just"/>
            <a:endParaRPr lang="en-US" sz="1400" dirty="0"/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aily Web-Scrapping for News (categorized by topics)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Organized Research by date, provider and topic.</a:t>
            </a:r>
          </a:p>
          <a:p>
            <a:pPr marL="742950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Any processed PDF its uploaded to database to keep context for future consultation and question answering.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endParaRPr lang="en-US" sz="1400" dirty="0"/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AM Templates for output information.</a:t>
            </a:r>
          </a:p>
          <a:p>
            <a:pPr marL="742950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Mostly .pptx handling in case of reporting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B4D6169-40D1-F217-BBBB-53752CFAF67A}"/>
              </a:ext>
            </a:extLst>
          </p:cNvPr>
          <p:cNvSpPr txBox="1"/>
          <p:nvPr/>
        </p:nvSpPr>
        <p:spPr>
          <a:xfrm>
            <a:off x="542773" y="5217464"/>
            <a:ext cx="1484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Daily News (Automated)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Research (As Of Now Manual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9340DB1-07C2-3A87-2F86-B4037571A5D2}"/>
              </a:ext>
            </a:extLst>
          </p:cNvPr>
          <p:cNvSpPr txBox="1"/>
          <p:nvPr/>
        </p:nvSpPr>
        <p:spPr>
          <a:xfrm>
            <a:off x="2440453" y="5217464"/>
            <a:ext cx="15923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BAT file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For automated task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Helpful when building Crews/Agents</a:t>
            </a:r>
          </a:p>
        </p:txBody>
      </p:sp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106F1FD7-6125-6CFE-3F97-9417C8852971}"/>
              </a:ext>
            </a:extLst>
          </p:cNvPr>
          <p:cNvGraphicFramePr/>
          <p:nvPr/>
        </p:nvGraphicFramePr>
        <p:xfrm>
          <a:off x="530692" y="4035608"/>
          <a:ext cx="7304462" cy="1374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" name="CuadroTexto 22">
            <a:extLst>
              <a:ext uri="{FF2B5EF4-FFF2-40B4-BE49-F238E27FC236}">
                <a16:creationId xmlns:a16="http://schemas.microsoft.com/office/drawing/2014/main" id="{7BA69D02-EB81-7A35-B807-81F329E429DF}"/>
              </a:ext>
            </a:extLst>
          </p:cNvPr>
          <p:cNvSpPr txBox="1"/>
          <p:nvPr/>
        </p:nvSpPr>
        <p:spPr>
          <a:xfrm>
            <a:off x="4032832" y="5209794"/>
            <a:ext cx="18211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Dedicated DDBB for each Research and News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Last context saved (given provider/topic) so the prompt could include it in future analysis.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21CD2AD3-D193-C369-3DEC-AFC325C522CB}"/>
              </a:ext>
            </a:extLst>
          </p:cNvPr>
          <p:cNvSpPr txBox="1"/>
          <p:nvPr/>
        </p:nvSpPr>
        <p:spPr>
          <a:xfrm>
            <a:off x="5853953" y="5217464"/>
            <a:ext cx="15923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D0D0D"/>
                </a:solidFill>
              </a:rPr>
              <a:t>In case of periodic reports, pptx automatically generated with that information.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53F835D-A5E4-B909-2281-ABBDB54E543A}"/>
              </a:ext>
            </a:extLst>
          </p:cNvPr>
          <p:cNvSpPr/>
          <p:nvPr/>
        </p:nvSpPr>
        <p:spPr>
          <a:xfrm>
            <a:off x="439258" y="1470211"/>
            <a:ext cx="11309829" cy="2111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33F037D-3F1A-6520-56DF-70C2F0087B9D}"/>
              </a:ext>
            </a:extLst>
          </p:cNvPr>
          <p:cNvSpPr txBox="1"/>
          <p:nvPr/>
        </p:nvSpPr>
        <p:spPr>
          <a:xfrm>
            <a:off x="439258" y="3727831"/>
            <a:ext cx="117438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just"/>
            <a:r>
              <a:rPr lang="en-US" sz="1400" b="1" dirty="0">
                <a:solidFill>
                  <a:srgbClr val="0081A4"/>
                </a:solidFill>
                <a:latin typeface="Santander Text" panose="020B0504020201020104" pitchFamily="34" charset="0"/>
              </a:rPr>
              <a:t>Workflow</a:t>
            </a:r>
            <a:endParaRPr lang="en-US" sz="1400" dirty="0">
              <a:solidFill>
                <a:srgbClr val="0081A4"/>
              </a:solidFill>
              <a:latin typeface="Santander Text" panose="020B0504020201020104" pitchFamily="34" charset="0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5F63A511-200B-A1ED-C650-9E03ACA52B9D}"/>
              </a:ext>
            </a:extLst>
          </p:cNvPr>
          <p:cNvGrpSpPr/>
          <p:nvPr/>
        </p:nvGrpSpPr>
        <p:grpSpPr>
          <a:xfrm>
            <a:off x="530691" y="4172192"/>
            <a:ext cx="307777" cy="307778"/>
            <a:chOff x="2162267" y="4215530"/>
            <a:chExt cx="307777" cy="307778"/>
          </a:xfrm>
        </p:grpSpPr>
        <p:sp>
          <p:nvSpPr>
            <p:cNvPr id="2" name="Elipse 1">
              <a:extLst>
                <a:ext uri="{FF2B5EF4-FFF2-40B4-BE49-F238E27FC236}">
                  <a16:creationId xmlns:a16="http://schemas.microsoft.com/office/drawing/2014/main" id="{00D372BD-F383-6FA7-E4F9-DFF591872261}"/>
                </a:ext>
              </a:extLst>
            </p:cNvPr>
            <p:cNvSpPr/>
            <p:nvPr/>
          </p:nvSpPr>
          <p:spPr>
            <a:xfrm>
              <a:off x="2162267" y="4215531"/>
              <a:ext cx="307777" cy="30777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40E5B00-28EA-2DB4-CD64-EA36A1CFA39C}"/>
                </a:ext>
              </a:extLst>
            </p:cNvPr>
            <p:cNvSpPr txBox="1"/>
            <p:nvPr/>
          </p:nvSpPr>
          <p:spPr>
            <a:xfrm>
              <a:off x="2174349" y="421553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Santander Text" panose="020B0504020201020104" pitchFamily="34" charset="0"/>
                </a:rPr>
                <a:t>1</a:t>
              </a: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4E8ED75C-632C-37FF-3A5E-BF219E61DFEB}"/>
              </a:ext>
            </a:extLst>
          </p:cNvPr>
          <p:cNvGrpSpPr/>
          <p:nvPr/>
        </p:nvGrpSpPr>
        <p:grpSpPr>
          <a:xfrm>
            <a:off x="2440453" y="4172191"/>
            <a:ext cx="307777" cy="307778"/>
            <a:chOff x="2162267" y="4215530"/>
            <a:chExt cx="307777" cy="307778"/>
          </a:xfrm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FB4D00E-F3DD-34C4-7D4C-EFC61A02A1EE}"/>
                </a:ext>
              </a:extLst>
            </p:cNvPr>
            <p:cNvSpPr/>
            <p:nvPr/>
          </p:nvSpPr>
          <p:spPr>
            <a:xfrm>
              <a:off x="2162267" y="4215531"/>
              <a:ext cx="307777" cy="30777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E70481AB-466B-8132-BF85-158646680CD1}"/>
                </a:ext>
              </a:extLst>
            </p:cNvPr>
            <p:cNvSpPr txBox="1"/>
            <p:nvPr/>
          </p:nvSpPr>
          <p:spPr>
            <a:xfrm>
              <a:off x="2174349" y="421553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Santander Text" panose="020B0504020201020104" pitchFamily="34" charset="0"/>
                </a:rPr>
                <a:t>2</a:t>
              </a: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B3839A19-11B2-A083-AE10-B43252BFCB1E}"/>
              </a:ext>
            </a:extLst>
          </p:cNvPr>
          <p:cNvGrpSpPr/>
          <p:nvPr/>
        </p:nvGrpSpPr>
        <p:grpSpPr>
          <a:xfrm>
            <a:off x="4449767" y="4172191"/>
            <a:ext cx="307777" cy="307778"/>
            <a:chOff x="2162267" y="4215530"/>
            <a:chExt cx="307777" cy="307778"/>
          </a:xfrm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8C75CEF1-973C-A2A7-D815-B042A9576DB3}"/>
                </a:ext>
              </a:extLst>
            </p:cNvPr>
            <p:cNvSpPr/>
            <p:nvPr/>
          </p:nvSpPr>
          <p:spPr>
            <a:xfrm>
              <a:off x="2162267" y="4215531"/>
              <a:ext cx="307777" cy="30777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0CA9DDAD-91E8-FD30-6923-6D7C66E968CF}"/>
                </a:ext>
              </a:extLst>
            </p:cNvPr>
            <p:cNvSpPr txBox="1"/>
            <p:nvPr/>
          </p:nvSpPr>
          <p:spPr>
            <a:xfrm>
              <a:off x="2174349" y="421553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Santander Text" panose="020B0504020201020104" pitchFamily="34" charset="0"/>
                </a:rPr>
                <a:t>3</a:t>
              </a: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16348023-DF0B-47EE-D811-7B39CD78760F}"/>
              </a:ext>
            </a:extLst>
          </p:cNvPr>
          <p:cNvGrpSpPr/>
          <p:nvPr/>
        </p:nvGrpSpPr>
        <p:grpSpPr>
          <a:xfrm>
            <a:off x="6394518" y="4172190"/>
            <a:ext cx="307777" cy="307778"/>
            <a:chOff x="2162267" y="4215530"/>
            <a:chExt cx="307777" cy="307778"/>
          </a:xfrm>
        </p:grpSpPr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E1136E77-8D64-4EDA-A8F7-8FCB4C529415}"/>
                </a:ext>
              </a:extLst>
            </p:cNvPr>
            <p:cNvSpPr/>
            <p:nvPr/>
          </p:nvSpPr>
          <p:spPr>
            <a:xfrm>
              <a:off x="2162267" y="4215531"/>
              <a:ext cx="307777" cy="30777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D90163D1-BCE2-B9A9-408B-A37F06ACA76F}"/>
                </a:ext>
              </a:extLst>
            </p:cNvPr>
            <p:cNvSpPr txBox="1"/>
            <p:nvPr/>
          </p:nvSpPr>
          <p:spPr>
            <a:xfrm>
              <a:off x="2174349" y="421553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Santander Text" panose="020B0504020201020104" pitchFamily="34" charset="0"/>
                </a:rPr>
                <a:t>4</a:t>
              </a:r>
            </a:p>
          </p:txBody>
        </p:sp>
      </p:grpSp>
      <p:sp>
        <p:nvSpPr>
          <p:cNvPr id="21" name="Rectángulo 20">
            <a:extLst>
              <a:ext uri="{FF2B5EF4-FFF2-40B4-BE49-F238E27FC236}">
                <a16:creationId xmlns:a16="http://schemas.microsoft.com/office/drawing/2014/main" id="{BCD62A95-4F22-C138-7988-9E18EE8AD96C}"/>
              </a:ext>
            </a:extLst>
          </p:cNvPr>
          <p:cNvSpPr/>
          <p:nvPr/>
        </p:nvSpPr>
        <p:spPr>
          <a:xfrm>
            <a:off x="8362994" y="3872753"/>
            <a:ext cx="3386093" cy="2832847"/>
          </a:xfrm>
          <a:prstGeom prst="rect">
            <a:avLst/>
          </a:prstGeom>
          <a:noFill/>
          <a:ln w="19050">
            <a:solidFill>
              <a:srgbClr val="0081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AC90370-A45F-8704-A817-46D03A22CECB}"/>
              </a:ext>
            </a:extLst>
          </p:cNvPr>
          <p:cNvSpPr txBox="1"/>
          <p:nvPr/>
        </p:nvSpPr>
        <p:spPr>
          <a:xfrm>
            <a:off x="8452629" y="3726344"/>
            <a:ext cx="1891566" cy="307777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81A4"/>
                </a:solidFill>
                <a:latin typeface="Santander Text" panose="020B0504020201020104" pitchFamily="34" charset="0"/>
              </a:rPr>
              <a:t>Future Enhancements</a:t>
            </a:r>
            <a:endParaRPr lang="en-US" sz="1400" dirty="0">
              <a:solidFill>
                <a:srgbClr val="0081A4"/>
              </a:solidFill>
              <a:latin typeface="Santander Text" panose="020B0504020201020104" pitchFamily="34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E648F37-1C64-D945-B8FF-3771CEBA9C7B}"/>
              </a:ext>
            </a:extLst>
          </p:cNvPr>
          <p:cNvSpPr txBox="1"/>
          <p:nvPr/>
        </p:nvSpPr>
        <p:spPr>
          <a:xfrm>
            <a:off x="8415913" y="4258124"/>
            <a:ext cx="3089253" cy="206210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 algn="just">
              <a:spcAft>
                <a:spcPts val="1200"/>
              </a:spcAft>
              <a:buClr>
                <a:srgbClr val="005471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5471"/>
                </a:solidFill>
              </a:rPr>
              <a:t>Internal Chat-bot for question answering.</a:t>
            </a:r>
          </a:p>
          <a:p>
            <a:pPr marL="742950" lvl="1" indent="-285750" algn="just">
              <a:spcAft>
                <a:spcPts val="1200"/>
              </a:spcAft>
              <a:buClr>
                <a:srgbClr val="005471"/>
              </a:buClr>
              <a:buFont typeface="Courier New" panose="02070309020205020404" pitchFamily="49" charset="0"/>
              <a:buChar char="o"/>
            </a:pPr>
            <a:r>
              <a:rPr lang="en-US" sz="1400" b="1" dirty="0">
                <a:solidFill>
                  <a:srgbClr val="005471"/>
                </a:solidFill>
              </a:rPr>
              <a:t>Local LLM (pre-trained model)</a:t>
            </a:r>
          </a:p>
          <a:p>
            <a:pPr marL="742950" lvl="1" indent="-285750" algn="just">
              <a:spcAft>
                <a:spcPts val="1200"/>
              </a:spcAft>
              <a:buClr>
                <a:srgbClr val="005471"/>
              </a:buClr>
              <a:buFont typeface="Courier New" panose="02070309020205020404" pitchFamily="49" charset="0"/>
              <a:buChar char="o"/>
            </a:pPr>
            <a:r>
              <a:rPr lang="en-US" sz="1400" b="1" dirty="0">
                <a:solidFill>
                  <a:srgbClr val="005471"/>
                </a:solidFill>
              </a:rPr>
              <a:t>This will cap the tokens usage</a:t>
            </a:r>
          </a:p>
          <a:p>
            <a:pPr marL="285750" indent="-285750" algn="just">
              <a:spcAft>
                <a:spcPts val="1200"/>
              </a:spcAft>
              <a:buClr>
                <a:srgbClr val="005471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5471"/>
                </a:solidFill>
              </a:rPr>
              <a:t>Translate this information to use as model-suggested portfolio based on a previously defined Benchmark.</a:t>
            </a:r>
          </a:p>
        </p:txBody>
      </p:sp>
    </p:spTree>
    <p:extLst>
      <p:ext uri="{BB962C8B-B14F-4D97-AF65-F5344CB8AC3E}">
        <p14:creationId xmlns:p14="http://schemas.microsoft.com/office/powerpoint/2010/main" val="34953024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33793-C62D-550F-EEE2-431464AFC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0577B3-B33F-570A-41CE-326A44B82D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60" y="939173"/>
            <a:ext cx="9128384" cy="740981"/>
          </a:xfrm>
        </p:spPr>
        <p:txBody>
          <a:bodyPr/>
          <a:lstStyle/>
          <a:p>
            <a:pPr algn="just"/>
            <a:r>
              <a:rPr lang="en-US" dirty="0"/>
              <a:t>2.3) Python built AI agents: News Content and Research Analysis - Step 2 output: Research summary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FB93C10-1CC7-0E72-2182-E86D1A625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807" y="1852117"/>
            <a:ext cx="9238386" cy="470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2790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F43AF5-E411-3928-F96D-13E033D9F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28A921-BC1B-7470-9A22-971A9F5FC2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2.3) Python built AI agents: News Content and Research Analysis - Step 4 output: Automated Report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A1AADB0-136D-5C76-D25F-2F9A3AF314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259" y="1784917"/>
            <a:ext cx="6362908" cy="492964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8893889-AB84-12FB-74B8-C37A404333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3483" y="1433409"/>
            <a:ext cx="4530787" cy="2619719"/>
          </a:xfrm>
          <a:prstGeom prst="rect">
            <a:avLst/>
          </a:prstGeom>
        </p:spPr>
      </p:pic>
      <p:pic>
        <p:nvPicPr>
          <p:cNvPr id="5" name="Imagen 2">
            <a:extLst>
              <a:ext uri="{FF2B5EF4-FFF2-40B4-BE49-F238E27FC236}">
                <a16:creationId xmlns:a16="http://schemas.microsoft.com/office/drawing/2014/main" id="{74241FB1-15BE-ED3C-5F12-444BA50A9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3483" y="4198686"/>
            <a:ext cx="4531307" cy="2451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9E413FCF-77B6-4F85-B277-B4392A8ADB9D}"/>
              </a:ext>
            </a:extLst>
          </p:cNvPr>
          <p:cNvSpPr/>
          <p:nvPr/>
        </p:nvSpPr>
        <p:spPr>
          <a:xfrm>
            <a:off x="7182140" y="1363453"/>
            <a:ext cx="4678165" cy="535111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Triángulo isósceles 6">
            <a:extLst>
              <a:ext uri="{FF2B5EF4-FFF2-40B4-BE49-F238E27FC236}">
                <a16:creationId xmlns:a16="http://schemas.microsoft.com/office/drawing/2014/main" id="{FF29112B-37FA-0F15-1548-36136399372D}"/>
              </a:ext>
            </a:extLst>
          </p:cNvPr>
          <p:cNvSpPr/>
          <p:nvPr/>
        </p:nvSpPr>
        <p:spPr>
          <a:xfrm rot="5400000">
            <a:off x="6250054" y="4219340"/>
            <a:ext cx="1484197" cy="176168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91191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DE0922-9827-D6FA-2598-AEEA85598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4EFA9F6C-0177-D4A8-AE68-7BB367B58260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4) Takeaways</a:t>
            </a:r>
          </a:p>
        </p:txBody>
      </p:sp>
      <p:sp>
        <p:nvSpPr>
          <p:cNvPr id="2" name="Marcador de texto 4">
            <a:extLst>
              <a:ext uri="{FF2B5EF4-FFF2-40B4-BE49-F238E27FC236}">
                <a16:creationId xmlns:a16="http://schemas.microsoft.com/office/drawing/2014/main" id="{A736BA32-B588-3155-7256-1D56AF073A0A}"/>
              </a:ext>
            </a:extLst>
          </p:cNvPr>
          <p:cNvSpPr txBox="1">
            <a:spLocks/>
          </p:cNvSpPr>
          <p:nvPr/>
        </p:nvSpPr>
        <p:spPr>
          <a:xfrm>
            <a:off x="439259" y="1508034"/>
            <a:ext cx="11309829" cy="497078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General discussions</a:t>
            </a:r>
            <a:endParaRPr lang="en-US" sz="1800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Major updates discussed included Grok 4, AI browsers competition, and a new public dataset for web agent training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Highlighted emerging trends in reasoning capabilities of LLMs and open-source contributions by Mistral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Three internal AI use cases were showcased to enhance investment analysis and decision-making workflows. </a:t>
            </a:r>
            <a:r>
              <a:rPr lang="en-US" sz="1800" dirty="0">
                <a:latin typeface="+mn-lt"/>
              </a:rPr>
              <a:t>Questions were made about:</a:t>
            </a:r>
          </a:p>
          <a:p>
            <a:pPr marL="714375" lvl="1" indent="-342900" algn="just">
              <a:spcAft>
                <a:spcPts val="600"/>
              </a:spcAft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About Model Behavior &amp; Prompts</a:t>
            </a:r>
          </a:p>
          <a:p>
            <a:pPr marL="714375" lvl="1" indent="-342900" algn="just">
              <a:spcAft>
                <a:spcPts val="600"/>
              </a:spcAft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On Data Input &amp; Email Processing</a:t>
            </a:r>
          </a:p>
          <a:p>
            <a:pPr marL="714375" lvl="1" indent="-342900" algn="just">
              <a:spcAft>
                <a:spcPts val="600"/>
              </a:spcAft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Integration &amp; Context</a:t>
            </a:r>
          </a:p>
          <a:p>
            <a:pPr marL="714375" lvl="1" indent="-342900" algn="just">
              <a:spcAft>
                <a:spcPts val="600"/>
              </a:spcAft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Scope &amp; Output</a:t>
            </a:r>
          </a:p>
          <a:p>
            <a:pPr marL="714375" lvl="1" indent="-342900" algn="just">
              <a:spcAft>
                <a:spcPts val="600"/>
              </a:spcAft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Technical Implementation</a:t>
            </a:r>
          </a:p>
          <a:p>
            <a:pPr marL="714375" lvl="1" indent="-34290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endParaRPr lang="en-US" sz="2388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83254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C9925-0CDC-54AE-C6FC-49D82E715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8AEE7B05-1167-0AB2-ADBF-23683E3FDE74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4) Takeaways</a:t>
            </a:r>
          </a:p>
        </p:txBody>
      </p:sp>
      <p:sp>
        <p:nvSpPr>
          <p:cNvPr id="2" name="Marcador de texto 4">
            <a:extLst>
              <a:ext uri="{FF2B5EF4-FFF2-40B4-BE49-F238E27FC236}">
                <a16:creationId xmlns:a16="http://schemas.microsoft.com/office/drawing/2014/main" id="{C7DB5165-2E58-8764-B012-EC2071E18F51}"/>
              </a:ext>
            </a:extLst>
          </p:cNvPr>
          <p:cNvSpPr txBox="1">
            <a:spLocks/>
          </p:cNvSpPr>
          <p:nvPr/>
        </p:nvSpPr>
        <p:spPr>
          <a:xfrm>
            <a:off x="439259" y="1508034"/>
            <a:ext cx="11309829" cy="497078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Vinicius’ Use Cases</a:t>
            </a:r>
            <a:endParaRPr lang="en-US" sz="1800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Technical Analysis GPT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Uploads graphs and technical indicators (e.g., RSI, EMA) from spreadsheets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Runs pattern recognition, </a:t>
            </a:r>
            <a:r>
              <a:rPr lang="en-US" sz="1800" dirty="0" err="1">
                <a:latin typeface="+mn-lt"/>
              </a:rPr>
              <a:t>backtesting</a:t>
            </a:r>
            <a:r>
              <a:rPr lang="en-US" sz="1800" dirty="0">
                <a:latin typeface="+mn-lt"/>
              </a:rPr>
              <a:t>, and Monte Carlo simulations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Supports discretionary decision-making with historical context and risk management suggestions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Records daily outputs for future performance review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Sentiment Index GPT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Parses plain-text versions of emails to extract market sentiment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Clusters data by broker and tags themes for divergence/convergence of views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Produces a daily sentiment score, but struggles with file parsing and consistent output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Aims to serve as an early bias filter for market positioning.</a:t>
            </a:r>
          </a:p>
        </p:txBody>
      </p:sp>
    </p:spTree>
    <p:extLst>
      <p:ext uri="{BB962C8B-B14F-4D97-AF65-F5344CB8AC3E}">
        <p14:creationId xmlns:p14="http://schemas.microsoft.com/office/powerpoint/2010/main" val="24672600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5F67FB-4D13-3E36-0948-99430985E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A3D6BA6B-C3F4-C5B7-D176-9C20A34FBC38}"/>
              </a:ext>
            </a:extLst>
          </p:cNvPr>
          <p:cNvSpPr txBox="1">
            <a:spLocks/>
          </p:cNvSpPr>
          <p:nvPr/>
        </p:nvSpPr>
        <p:spPr>
          <a:xfrm>
            <a:off x="439259" y="939173"/>
            <a:ext cx="11309829" cy="74098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  <a:cs typeface="Santander Headline Light" panose="020B0304020201010104" pitchFamily="34" charset="0"/>
              </a:defRPr>
            </a:lvl1pPr>
          </a:lstStyle>
          <a:p>
            <a:pPr algn="just"/>
            <a:r>
              <a:rPr lang="en-US" dirty="0"/>
              <a:t>4) Takeaways</a:t>
            </a:r>
          </a:p>
        </p:txBody>
      </p:sp>
      <p:sp>
        <p:nvSpPr>
          <p:cNvPr id="2" name="Marcador de texto 4">
            <a:extLst>
              <a:ext uri="{FF2B5EF4-FFF2-40B4-BE49-F238E27FC236}">
                <a16:creationId xmlns:a16="http://schemas.microsoft.com/office/drawing/2014/main" id="{6905D348-25D4-2C68-A115-2E945E0C0A89}"/>
              </a:ext>
            </a:extLst>
          </p:cNvPr>
          <p:cNvSpPr txBox="1">
            <a:spLocks/>
          </p:cNvSpPr>
          <p:nvPr/>
        </p:nvSpPr>
        <p:spPr>
          <a:xfrm>
            <a:off x="439259" y="1508034"/>
            <a:ext cx="11309829" cy="497078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b="1" dirty="0">
                <a:latin typeface="+mn-lt"/>
              </a:rPr>
              <a:t>Mauro’s use case: Research &amp; News AI Agents Pipeline</a:t>
            </a:r>
            <a:endParaRPr lang="en-US" sz="1800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Automated news pipeline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Web-scrapes predefined news sites, stores content in a database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ChatGPT API generates highlights and adds topic-based context for future comparis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Semi-automated research pipeline: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PDFs are manually sorted by asset class and categorized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Python script extracts text and prompts ChatGPT API to summarize each report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Context is stored for follow-up queries by topic or provider (e.g., “latest GS view on US fixed income”).</a:t>
            </a:r>
          </a:p>
          <a:p>
            <a:pPr marL="657225" lvl="1" indent="-2857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latin typeface="+mn-lt"/>
              </a:rPr>
              <a:t>Plans to produce structured outputs (e.g., PowerPoint summaries) and enable cross-provider comparisons.</a:t>
            </a:r>
          </a:p>
        </p:txBody>
      </p: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11502F1D-C172-24E9-9DDC-B398A074EA6D}"/>
              </a:ext>
            </a:extLst>
          </p:cNvPr>
          <p:cNvSpPr txBox="1">
            <a:spLocks/>
          </p:cNvSpPr>
          <p:nvPr/>
        </p:nvSpPr>
        <p:spPr>
          <a:xfrm>
            <a:off x="439260" y="4955517"/>
            <a:ext cx="11309828" cy="1218737"/>
          </a:xfrm>
          <a:prstGeom prst="rect">
            <a:avLst/>
          </a:prstGeom>
          <a:solidFill>
            <a:srgbClr val="C00000"/>
          </a:solidFill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1800" b="1" dirty="0">
                <a:solidFill>
                  <a:schemeClr val="bg1"/>
                </a:solidFill>
                <a:latin typeface="+mn-lt"/>
              </a:rPr>
              <a:t>Next Steps</a:t>
            </a:r>
          </a:p>
          <a:p>
            <a:pPr marL="1612900" indent="-285750"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Expand and refine Vinicius’ GPTs with better automation and statistical accuracy.</a:t>
            </a:r>
          </a:p>
          <a:p>
            <a:pPr marL="1612900" indent="-285750"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Continue Mauro’s integration efforts to fully automate PDF intake and structure outputs.</a:t>
            </a:r>
          </a:p>
        </p:txBody>
      </p:sp>
    </p:spTree>
    <p:extLst>
      <p:ext uri="{BB962C8B-B14F-4D97-AF65-F5344CB8AC3E}">
        <p14:creationId xmlns:p14="http://schemas.microsoft.com/office/powerpoint/2010/main" val="29640117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C498B3-4BF2-E73F-61A1-A9D92BF9606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AB47A-DE23-85CC-99F4-05D43026BAC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s-ES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3682512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95394-5604-3A30-5B7A-8A44B11B3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0BF2DC9-A5E8-256B-89B8-47048BF7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07314">
              <a:spcBef>
                <a:spcPts val="204"/>
              </a:spcBef>
            </a:pPr>
            <a:fld id="{81D60167-4931-47E6-BA6A-407CBD079E47}" type="slidenum">
              <a:rPr lang="es-ES" smtClean="0"/>
              <a:pPr marL="107314">
                <a:spcBef>
                  <a:spcPts val="204"/>
                </a:spcBef>
              </a:pPr>
              <a:t>2</a:t>
            </a:fld>
            <a:endParaRPr lang="es-ES" dirty="0"/>
          </a:p>
        </p:txBody>
      </p:sp>
      <p:pic>
        <p:nvPicPr>
          <p:cNvPr id="4" name="Imagen 3" descr="Persona en bicicleta en la calle&#10;&#10;Descripción generada automáticamente">
            <a:extLst>
              <a:ext uri="{FF2B5EF4-FFF2-40B4-BE49-F238E27FC236}">
                <a16:creationId xmlns:a16="http://schemas.microsoft.com/office/drawing/2014/main" id="{F2082253-BF57-CDC8-3CB9-EB547D6FE5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5371" y="845991"/>
            <a:ext cx="6226630" cy="601200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8D012857-B333-C97F-C296-F449DA4A0F04}"/>
              </a:ext>
            </a:extLst>
          </p:cNvPr>
          <p:cNvCxnSpPr>
            <a:cxnSpLocks/>
          </p:cNvCxnSpPr>
          <p:nvPr/>
        </p:nvCxnSpPr>
        <p:spPr>
          <a:xfrm>
            <a:off x="3940202" y="1557069"/>
            <a:ext cx="20213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80D29698-532B-BBFC-D784-098B875DEA05}"/>
              </a:ext>
            </a:extLst>
          </p:cNvPr>
          <p:cNvCxnSpPr>
            <a:cxnSpLocks/>
          </p:cNvCxnSpPr>
          <p:nvPr/>
        </p:nvCxnSpPr>
        <p:spPr>
          <a:xfrm>
            <a:off x="423863" y="1886792"/>
            <a:ext cx="347201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5B69C2-82DA-4AA2-CE3D-92B1168C4913}"/>
              </a:ext>
            </a:extLst>
          </p:cNvPr>
          <p:cNvSpPr txBox="1">
            <a:spLocks/>
          </p:cNvSpPr>
          <p:nvPr/>
        </p:nvSpPr>
        <p:spPr>
          <a:xfrm>
            <a:off x="369094" y="1184650"/>
            <a:ext cx="10710384" cy="859303"/>
          </a:xfrm>
        </p:spPr>
        <p:txBody>
          <a:bodyPr/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 dirty="0">
                <a:solidFill>
                  <a:schemeClr val="accent2"/>
                </a:solidFill>
                <a:latin typeface="Santander Headline" panose="020B0504020201020104" pitchFamily="34" charset="0"/>
                <a:ea typeface="+mj-ea"/>
              </a:rPr>
              <a:t>Index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653FEEB-5B1B-5220-1426-D789485673FE}"/>
              </a:ext>
            </a:extLst>
          </p:cNvPr>
          <p:cNvSpPr txBox="1">
            <a:spLocks/>
          </p:cNvSpPr>
          <p:nvPr/>
        </p:nvSpPr>
        <p:spPr>
          <a:xfrm>
            <a:off x="423863" y="1987247"/>
            <a:ext cx="5537738" cy="4488700"/>
          </a:xfrm>
        </p:spPr>
        <p:txBody>
          <a:bodyPr/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1) </a:t>
            </a:r>
            <a:r>
              <a:rPr lang="en-US" sz="1600" b="1" dirty="0"/>
              <a:t>Recent updates in AI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2)</a:t>
            </a:r>
            <a:r>
              <a:rPr lang="en-US" sz="1600" b="1" dirty="0"/>
              <a:t> Use cases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     2.1)</a:t>
            </a:r>
            <a:r>
              <a:rPr lang="en-US" sz="1600" b="1" dirty="0"/>
              <a:t> Technical Analyst GPT – Systematic Market Intelligence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     2.2) </a:t>
            </a:r>
            <a:r>
              <a:rPr lang="en-US" sz="1600" b="1" dirty="0"/>
              <a:t>Sentiment Index GPT – Thematic Sentiment Dashboard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/>
              <a:t>     </a:t>
            </a:r>
            <a:r>
              <a:rPr lang="en-US" sz="1600" b="1" dirty="0">
                <a:solidFill>
                  <a:srgbClr val="C00000"/>
                </a:solidFill>
              </a:rPr>
              <a:t>2.3)</a:t>
            </a:r>
            <a:r>
              <a:rPr lang="en-US" sz="1600" b="1" dirty="0"/>
              <a:t> Python built AI agents: News Content and Research          Analysis </a:t>
            </a:r>
          </a:p>
          <a:p>
            <a:pPr marL="0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600" b="1" dirty="0">
                <a:solidFill>
                  <a:srgbClr val="C00000"/>
                </a:solidFill>
              </a:rPr>
              <a:t>3)</a:t>
            </a:r>
            <a:r>
              <a:rPr lang="en-US" sz="1600" b="1" dirty="0"/>
              <a:t> Takeaways</a:t>
            </a:r>
          </a:p>
        </p:txBody>
      </p:sp>
    </p:spTree>
    <p:extLst>
      <p:ext uri="{BB962C8B-B14F-4D97-AF65-F5344CB8AC3E}">
        <p14:creationId xmlns:p14="http://schemas.microsoft.com/office/powerpoint/2010/main" val="88093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116C06-5E10-3D27-FDD3-CBECC4B4B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0F0FBB-CF31-7258-D6B3-FD3CCD13F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) Recent updates in AI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8BEF89A0-9B50-124A-6F46-17A2C809E6F0}"/>
              </a:ext>
            </a:extLst>
          </p:cNvPr>
          <p:cNvSpPr txBox="1">
            <a:spLocks/>
          </p:cNvSpPr>
          <p:nvPr/>
        </p:nvSpPr>
        <p:spPr>
          <a:xfrm>
            <a:off x="439259" y="1309663"/>
            <a:ext cx="10664170" cy="5752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C00000"/>
              </a:buClr>
            </a:pPr>
            <a:r>
              <a:rPr lang="en-US" sz="1600" dirty="0">
                <a:latin typeface="+mn-lt"/>
              </a:rPr>
              <a:t>Recent AI developments signal a strategic shift: from foundational model innovation to competitive disruption across browsers, search, and enterprise tooling—reshaping how companies access users, data, and productivity gains.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4FEB89AF-6493-CA4A-A375-523CA0F523C1}"/>
              </a:ext>
            </a:extLst>
          </p:cNvPr>
          <p:cNvSpPr txBox="1">
            <a:spLocks/>
          </p:cNvSpPr>
          <p:nvPr/>
        </p:nvSpPr>
        <p:spPr>
          <a:xfrm>
            <a:off x="4293119" y="2833688"/>
            <a:ext cx="3533514" cy="12426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4) Perplexity Comet: Browsers Become Agents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Launches like Dia, Comet (Perplexity), and a rumored OpenAI browser shift browsers from passive tools to active assistants with agentic capabilitie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Owning the browser means controlling the user session—opening the door to data, engagement, and monetization power.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C33CD93C-1910-AC2F-0792-B6F0E500F84C}"/>
              </a:ext>
            </a:extLst>
          </p:cNvPr>
          <p:cNvGrpSpPr/>
          <p:nvPr/>
        </p:nvGrpSpPr>
        <p:grpSpPr>
          <a:xfrm>
            <a:off x="134465" y="1840125"/>
            <a:ext cx="3965827" cy="2427076"/>
            <a:chOff x="134465" y="1840125"/>
            <a:chExt cx="3965827" cy="2427076"/>
          </a:xfrm>
        </p:grpSpPr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3DC411D3-02E6-2C49-577E-431E3D1FF260}"/>
                </a:ext>
              </a:extLst>
            </p:cNvPr>
            <p:cNvSpPr/>
            <p:nvPr/>
          </p:nvSpPr>
          <p:spPr>
            <a:xfrm>
              <a:off x="134465" y="2204353"/>
              <a:ext cx="3965827" cy="2062848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1" name="Marcador de texto 4">
              <a:extLst>
                <a:ext uri="{FF2B5EF4-FFF2-40B4-BE49-F238E27FC236}">
                  <a16:creationId xmlns:a16="http://schemas.microsoft.com/office/drawing/2014/main" id="{5BB125DB-F813-949A-99A7-A9A6AC44B387}"/>
                </a:ext>
              </a:extLst>
            </p:cNvPr>
            <p:cNvSpPr txBox="1">
              <a:spLocks/>
            </p:cNvSpPr>
            <p:nvPr/>
          </p:nvSpPr>
          <p:spPr>
            <a:xfrm>
              <a:off x="757022" y="1840125"/>
              <a:ext cx="2674055" cy="728455"/>
            </a:xfrm>
            <a:prstGeom prst="rect">
              <a:avLst/>
            </a:prstGeom>
            <a:solidFill>
              <a:schemeClr val="bg1"/>
            </a:solidFill>
          </p:spPr>
          <p:txBody>
            <a:bodyPr lIns="0" tIns="0" rIns="0" bIns="0" anchor="ctr">
              <a:noAutofit/>
            </a:bodyPr>
            <a:lstStyle>
              <a:lvl1pPr marL="0" indent="0" algn="l" defTabSz="742950" rtl="0" eaLnBrk="1" latinLnBrk="0" hangingPunct="1">
                <a:lnSpc>
                  <a:spcPct val="10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1200" i="0" kern="1200" baseline="0">
                  <a:solidFill>
                    <a:schemeClr val="tx1"/>
                  </a:solidFill>
                  <a:latin typeface="Santander Text Light" panose="020B0304020201020104" pitchFamily="34" charset="0"/>
                  <a:ea typeface="+mn-ea"/>
                  <a:cs typeface="Arial" panose="020B0604020202020204" pitchFamily="34" charset="0"/>
                </a:defRPr>
              </a:lvl1pPr>
              <a:lvl2pPr marL="37147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74295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1442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590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04311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1458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8606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5753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C00000"/>
                </a:buClr>
              </a:pPr>
              <a:r>
                <a:rPr lang="en-US" sz="1600" b="1" dirty="0">
                  <a:solidFill>
                    <a:srgbClr val="C00000"/>
                  </a:solidFill>
                  <a:latin typeface="Santander Text" panose="020B0504020201020104" pitchFamily="34" charset="0"/>
                </a:rPr>
                <a:t>AI models</a:t>
              </a:r>
            </a:p>
          </p:txBody>
        </p:sp>
        <p:sp>
          <p:nvSpPr>
            <p:cNvPr id="14" name="Marcador de texto 4">
              <a:extLst>
                <a:ext uri="{FF2B5EF4-FFF2-40B4-BE49-F238E27FC236}">
                  <a16:creationId xmlns:a16="http://schemas.microsoft.com/office/drawing/2014/main" id="{E3CF0BD5-F2D8-4DDE-B1A9-1CBB336FB670}"/>
                </a:ext>
              </a:extLst>
            </p:cNvPr>
            <p:cNvSpPr txBox="1">
              <a:spLocks/>
            </p:cNvSpPr>
            <p:nvPr/>
          </p:nvSpPr>
          <p:spPr>
            <a:xfrm>
              <a:off x="327292" y="2596424"/>
              <a:ext cx="3533514" cy="1431873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lvl1pPr marL="0" indent="0" algn="l" defTabSz="742950" rtl="0" eaLnBrk="1" latinLnBrk="0" hangingPunct="1">
                <a:lnSpc>
                  <a:spcPct val="10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1200" i="0" kern="1200" baseline="0">
                  <a:solidFill>
                    <a:schemeClr val="tx1"/>
                  </a:solidFill>
                  <a:latin typeface="Santander Text Light" panose="020B0304020201020104" pitchFamily="34" charset="0"/>
                  <a:ea typeface="+mn-ea"/>
                  <a:cs typeface="Arial" panose="020B0604020202020204" pitchFamily="34" charset="0"/>
                </a:defRPr>
              </a:lvl1pPr>
              <a:lvl2pPr marL="37147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74295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1442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590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04311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1458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8606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5753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buClr>
                  <a:srgbClr val="C00000"/>
                </a:buClr>
              </a:pPr>
              <a:r>
                <a:rPr lang="en-US" b="1" dirty="0">
                  <a:latin typeface="Santander Text" panose="020B0504020201020104" pitchFamily="34" charset="0"/>
                </a:rPr>
                <a:t>1) Grok 4</a:t>
              </a:r>
            </a:p>
            <a:p>
              <a:pPr marL="285750" indent="-285750" algn="just"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Supports both text and image input, with a “Heavy” mode using multiple agents and tool use for real-time search, coding, and reasoning</a:t>
              </a:r>
            </a:p>
            <a:p>
              <a:pPr marL="285750" indent="-285750" algn="just"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Leads benchmarks like ARC-AGI (16.2%) and Humanity’s Last Exam with tools (44.4%), though still trails GPT-4 in MMLU and GSM8K.</a:t>
              </a:r>
            </a:p>
          </p:txBody>
        </p:sp>
      </p:grp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E489FA0E-5146-4715-B5C6-F21415523D81}"/>
              </a:ext>
            </a:extLst>
          </p:cNvPr>
          <p:cNvSpPr txBox="1">
            <a:spLocks/>
          </p:cNvSpPr>
          <p:nvPr/>
        </p:nvSpPr>
        <p:spPr>
          <a:xfrm>
            <a:off x="4357016" y="4383247"/>
            <a:ext cx="3535200" cy="18387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fr-FR" b="1" dirty="0">
                <a:latin typeface="Santander Text" panose="020B0504020201020104" pitchFamily="34" charset="0"/>
              </a:rPr>
              <a:t>5) </a:t>
            </a:r>
            <a:r>
              <a:rPr lang="en-US" b="1" dirty="0">
                <a:latin typeface="Santander Text" panose="020B0504020201020104" pitchFamily="34" charset="0"/>
              </a:rPr>
              <a:t>AI Shifts the Search Landscape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ChatGPT is increasingly replacing Google for search, coding, and content—with users spending more time per session than on Google Search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Despite strong AI models, Google faces internal friction; slow AI integration risks eroding its dominance in the search experience.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A18CB189-6B2F-FF05-C878-C05BFBA1E48F}"/>
              </a:ext>
            </a:extLst>
          </p:cNvPr>
          <p:cNvSpPr/>
          <p:nvPr/>
        </p:nvSpPr>
        <p:spPr>
          <a:xfrm>
            <a:off x="4143602" y="2204351"/>
            <a:ext cx="3916607" cy="449253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6DC94D33-0540-8411-9AFF-BC554570FD22}"/>
              </a:ext>
            </a:extLst>
          </p:cNvPr>
          <p:cNvSpPr txBox="1">
            <a:spLocks/>
          </p:cNvSpPr>
          <p:nvPr/>
        </p:nvSpPr>
        <p:spPr>
          <a:xfrm>
            <a:off x="4787589" y="1840125"/>
            <a:ext cx="2674055" cy="72845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1600" b="1" dirty="0">
                <a:solidFill>
                  <a:srgbClr val="C00000"/>
                </a:solidFill>
                <a:latin typeface="Santander Text" panose="020B0504020201020104" pitchFamily="34" charset="0"/>
              </a:rPr>
              <a:t>AI Browser Wars</a:t>
            </a:r>
          </a:p>
        </p:txBody>
      </p:sp>
      <p:sp>
        <p:nvSpPr>
          <p:cNvPr id="38" name="Marcador de texto 4">
            <a:extLst>
              <a:ext uri="{FF2B5EF4-FFF2-40B4-BE49-F238E27FC236}">
                <a16:creationId xmlns:a16="http://schemas.microsoft.com/office/drawing/2014/main" id="{691FDFAE-1869-C9D8-593E-52E54B8D9BA8}"/>
              </a:ext>
            </a:extLst>
          </p:cNvPr>
          <p:cNvSpPr txBox="1">
            <a:spLocks/>
          </p:cNvSpPr>
          <p:nvPr/>
        </p:nvSpPr>
        <p:spPr>
          <a:xfrm>
            <a:off x="8295599" y="2698024"/>
            <a:ext cx="3533514" cy="143187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2) Chain-of-Thoughts May Not Reflect Model Reasoning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Claude 3.7 and DeepSeek-R1 were influenced by misleading hints but rarely acknowledged them in their chain of thought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Raises concerns over the reliability of reasoning traces as explanations—highlighting the challenge of interpretability in advanced LLMs.</a:t>
            </a:r>
          </a:p>
        </p:txBody>
      </p:sp>
      <p:sp>
        <p:nvSpPr>
          <p:cNvPr id="39" name="Marcador de texto 4">
            <a:extLst>
              <a:ext uri="{FF2B5EF4-FFF2-40B4-BE49-F238E27FC236}">
                <a16:creationId xmlns:a16="http://schemas.microsoft.com/office/drawing/2014/main" id="{CC4DDFF4-761D-995B-6DF0-1E7532E18886}"/>
              </a:ext>
            </a:extLst>
          </p:cNvPr>
          <p:cNvSpPr txBox="1">
            <a:spLocks/>
          </p:cNvSpPr>
          <p:nvPr/>
        </p:nvSpPr>
        <p:spPr>
          <a:xfrm>
            <a:off x="8295599" y="5044935"/>
            <a:ext cx="3533514" cy="142555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b="1" dirty="0">
                <a:latin typeface="Santander Text" panose="020B0504020201020104" pitchFamily="34" charset="0"/>
              </a:rPr>
              <a:t>6) Mistral Eyes $1B Raise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French startup Mistral is in talks to raise $1B, with Microsoft’s MGX fund among interested backers—valuing the company at up to $6B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Focused on performant open-weight models, Mistral positions itself as Europe’s answer to U.S. AI giants—highlighting momentum behind open alternatives.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1D17B2A6-1FC3-8256-10F3-3AFCA2296B20}"/>
              </a:ext>
            </a:extLst>
          </p:cNvPr>
          <p:cNvSpPr/>
          <p:nvPr/>
        </p:nvSpPr>
        <p:spPr>
          <a:xfrm>
            <a:off x="8102772" y="2204352"/>
            <a:ext cx="3965827" cy="222008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2" name="Marcador de texto 4">
            <a:extLst>
              <a:ext uri="{FF2B5EF4-FFF2-40B4-BE49-F238E27FC236}">
                <a16:creationId xmlns:a16="http://schemas.microsoft.com/office/drawing/2014/main" id="{9320906B-9399-F7D8-A216-3D8FA59FFFD9}"/>
              </a:ext>
            </a:extLst>
          </p:cNvPr>
          <p:cNvSpPr txBox="1">
            <a:spLocks/>
          </p:cNvSpPr>
          <p:nvPr/>
        </p:nvSpPr>
        <p:spPr>
          <a:xfrm>
            <a:off x="8725329" y="1840125"/>
            <a:ext cx="2674055" cy="72845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1600" b="1" dirty="0">
                <a:solidFill>
                  <a:srgbClr val="C00000"/>
                </a:solidFill>
                <a:latin typeface="Santander Text" panose="020B0504020201020104" pitchFamily="34" charset="0"/>
              </a:rPr>
              <a:t>Reasoning</a:t>
            </a:r>
          </a:p>
        </p:txBody>
      </p:sp>
      <p:grpSp>
        <p:nvGrpSpPr>
          <p:cNvPr id="43" name="Grupo 42">
            <a:extLst>
              <a:ext uri="{FF2B5EF4-FFF2-40B4-BE49-F238E27FC236}">
                <a16:creationId xmlns:a16="http://schemas.microsoft.com/office/drawing/2014/main" id="{64ED50A7-AB2A-7F01-F5AB-15829F2C15D0}"/>
              </a:ext>
            </a:extLst>
          </p:cNvPr>
          <p:cNvGrpSpPr/>
          <p:nvPr/>
        </p:nvGrpSpPr>
        <p:grpSpPr>
          <a:xfrm>
            <a:off x="135745" y="4472040"/>
            <a:ext cx="3964547" cy="2224849"/>
            <a:chOff x="4695134" y="2004779"/>
            <a:chExt cx="3916607" cy="1788413"/>
          </a:xfrm>
        </p:grpSpPr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F10211DB-E9CE-756B-FFAA-2E035271535F}"/>
                </a:ext>
              </a:extLst>
            </p:cNvPr>
            <p:cNvSpPr/>
            <p:nvPr/>
          </p:nvSpPr>
          <p:spPr>
            <a:xfrm>
              <a:off x="4695134" y="2204351"/>
              <a:ext cx="3916607" cy="1588841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6" name="Marcador de texto 4">
              <a:extLst>
                <a:ext uri="{FF2B5EF4-FFF2-40B4-BE49-F238E27FC236}">
                  <a16:creationId xmlns:a16="http://schemas.microsoft.com/office/drawing/2014/main" id="{2911DFDA-7CBF-CE55-8527-50CF72078341}"/>
                </a:ext>
              </a:extLst>
            </p:cNvPr>
            <p:cNvSpPr txBox="1">
              <a:spLocks/>
            </p:cNvSpPr>
            <p:nvPr/>
          </p:nvSpPr>
          <p:spPr>
            <a:xfrm>
              <a:off x="5339121" y="2004779"/>
              <a:ext cx="2674055" cy="413295"/>
            </a:xfrm>
            <a:prstGeom prst="rect">
              <a:avLst/>
            </a:prstGeom>
            <a:solidFill>
              <a:schemeClr val="bg1"/>
            </a:solidFill>
          </p:spPr>
          <p:txBody>
            <a:bodyPr lIns="0" tIns="0" rIns="0" bIns="0" anchor="ctr">
              <a:noAutofit/>
            </a:bodyPr>
            <a:lstStyle>
              <a:lvl1pPr marL="0" indent="0" algn="l" defTabSz="742950" rtl="0" eaLnBrk="1" latinLnBrk="0" hangingPunct="1">
                <a:lnSpc>
                  <a:spcPct val="10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1200" i="0" kern="1200" baseline="0">
                  <a:solidFill>
                    <a:schemeClr val="tx1"/>
                  </a:solidFill>
                  <a:latin typeface="Santander Text Light" panose="020B0304020201020104" pitchFamily="34" charset="0"/>
                  <a:ea typeface="+mn-ea"/>
                  <a:cs typeface="Arial" panose="020B0604020202020204" pitchFamily="34" charset="0"/>
                </a:defRPr>
              </a:lvl1pPr>
              <a:lvl2pPr marL="37147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74295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1442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590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04311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1458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8606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5753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C00000"/>
                </a:buClr>
              </a:pPr>
              <a:r>
                <a:rPr lang="en-US" sz="1600" b="1" dirty="0">
                  <a:solidFill>
                    <a:srgbClr val="C00000"/>
                  </a:solidFill>
                  <a:latin typeface="Santander Text" panose="020B0504020201020104" pitchFamily="34" charset="0"/>
                </a:rPr>
                <a:t>Datasets</a:t>
              </a:r>
            </a:p>
          </p:txBody>
        </p:sp>
        <p:sp>
          <p:nvSpPr>
            <p:cNvPr id="44" name="Marcador de texto 4">
              <a:extLst>
                <a:ext uri="{FF2B5EF4-FFF2-40B4-BE49-F238E27FC236}">
                  <a16:creationId xmlns:a16="http://schemas.microsoft.com/office/drawing/2014/main" id="{9947456F-95BE-E86D-DF69-B445F45E839E}"/>
                </a:ext>
              </a:extLst>
            </p:cNvPr>
            <p:cNvSpPr txBox="1">
              <a:spLocks/>
            </p:cNvSpPr>
            <p:nvPr/>
          </p:nvSpPr>
          <p:spPr>
            <a:xfrm>
              <a:off x="4908548" y="2473055"/>
              <a:ext cx="3535200" cy="1101424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>
              <a:lvl1pPr marL="0" indent="0" algn="l" defTabSz="742950" rtl="0" eaLnBrk="1" latinLnBrk="0" hangingPunct="1">
                <a:lnSpc>
                  <a:spcPct val="100000"/>
                </a:lnSpc>
                <a:spcBef>
                  <a:spcPts val="813"/>
                </a:spcBef>
                <a:buFont typeface="Arial" panose="020B0604020202020204" pitchFamily="34" charset="0"/>
                <a:buNone/>
                <a:defRPr sz="1200" i="0" kern="1200" baseline="0">
                  <a:solidFill>
                    <a:schemeClr val="tx1"/>
                  </a:solidFill>
                  <a:latin typeface="Santander Text Light" panose="020B0304020201020104" pitchFamily="34" charset="0"/>
                  <a:ea typeface="+mn-ea"/>
                  <a:cs typeface="Arial" panose="020B0604020202020204" pitchFamily="34" charset="0"/>
                </a:defRPr>
              </a:lvl1pPr>
              <a:lvl2pPr marL="37147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74295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14425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485900" indent="0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None/>
                <a:defRPr sz="1788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04311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1458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86063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57538" indent="-185738" algn="l" defTabSz="742950" rtl="0" eaLnBrk="1" latinLnBrk="0" hangingPunct="1">
                <a:lnSpc>
                  <a:spcPct val="90000"/>
                </a:lnSpc>
                <a:spcBef>
                  <a:spcPts val="406"/>
                </a:spcBef>
                <a:buFont typeface="Arial" panose="020B0604020202020204" pitchFamily="34" charset="0"/>
                <a:buChar char="•"/>
                <a:defRPr sz="146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buClr>
                  <a:srgbClr val="C00000"/>
                </a:buClr>
              </a:pPr>
              <a:r>
                <a:rPr lang="fr-FR" b="1" dirty="0">
                  <a:latin typeface="Santander Text" panose="020B0504020201020104" pitchFamily="34" charset="0"/>
                </a:rPr>
                <a:t>3) </a:t>
              </a:r>
              <a:r>
                <a:rPr lang="en-US" b="1" dirty="0">
                  <a:latin typeface="Santander Text" panose="020B0504020201020104" pitchFamily="34" charset="0"/>
                </a:rPr>
                <a:t>Generated Data for Training Web Agents</a:t>
              </a:r>
            </a:p>
            <a:p>
              <a:pPr marL="285750" indent="-285750" algn="just"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Researchers auto-generated 10,500 web task samples using Qwen3-235B, enabling small models like Qwen3-1.7B to match or outperform larger ones. </a:t>
              </a:r>
            </a:p>
            <a:p>
              <a:pPr marL="285750" indent="-285750" algn="just"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Dataset and methodology released under MIT license—promising scalable, open-source pathways for building web agents.</a:t>
              </a:r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B3B6AEB3-1F8E-7CD8-29AD-D12888476322}"/>
              </a:ext>
            </a:extLst>
          </p:cNvPr>
          <p:cNvSpPr/>
          <p:nvPr/>
        </p:nvSpPr>
        <p:spPr>
          <a:xfrm>
            <a:off x="8102772" y="4720315"/>
            <a:ext cx="3965827" cy="197181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8C8386E-1F84-A07D-1AA6-0F5695EF8956}"/>
              </a:ext>
            </a:extLst>
          </p:cNvPr>
          <p:cNvSpPr txBox="1">
            <a:spLocks/>
          </p:cNvSpPr>
          <p:nvPr/>
        </p:nvSpPr>
        <p:spPr>
          <a:xfrm>
            <a:off x="8725329" y="4515473"/>
            <a:ext cx="2674055" cy="412229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</a:pPr>
            <a:r>
              <a:rPr lang="en-US" sz="1600" b="1" dirty="0">
                <a:solidFill>
                  <a:srgbClr val="C00000"/>
                </a:solidFill>
                <a:latin typeface="Santander Text" panose="020B0504020201020104" pitchFamily="34" charset="0"/>
              </a:rPr>
              <a:t>AI Funding</a:t>
            </a:r>
          </a:p>
        </p:txBody>
      </p:sp>
    </p:spTree>
    <p:extLst>
      <p:ext uri="{BB962C8B-B14F-4D97-AF65-F5344CB8AC3E}">
        <p14:creationId xmlns:p14="http://schemas.microsoft.com/office/powerpoint/2010/main" val="1243781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8ECB4E-E990-8A26-0F74-DA34326786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F8EF28-670B-3735-C58B-8676A3D87D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1) Grok 4: </a:t>
            </a:r>
            <a:r>
              <a:rPr lang="en-US" dirty="0" err="1"/>
              <a:t>xAI’s</a:t>
            </a:r>
            <a:r>
              <a:rPr lang="en-US" dirty="0"/>
              <a:t> Multimodal Model Challenges the Frontier of AGI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AF532910-AF89-9348-D4E5-3C7AB4BCCCF8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070398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Elon Musk’s </a:t>
            </a:r>
            <a:r>
              <a:rPr lang="en-US" sz="1800" dirty="0" err="1">
                <a:latin typeface="+mn-lt"/>
              </a:rPr>
              <a:t>xAI</a:t>
            </a:r>
            <a:r>
              <a:rPr lang="en-US" sz="1800" dirty="0">
                <a:latin typeface="+mn-lt"/>
              </a:rPr>
              <a:t> launches Grok 4, a multimodal LLM positioned as a competitive alternative to GPT-4 and Gemini, with advanced reasoning, real-time tool use, and a distinctive alignment philosophy.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Multimodal and agentic</a:t>
            </a:r>
            <a:r>
              <a:rPr lang="en-US" sz="1800" dirty="0">
                <a:latin typeface="+mn-lt"/>
              </a:rPr>
              <a:t>: Grok 4 supports both text and image input, with a "Heavy" version that deploys multi-agent collaboration and tool use—enabling real-time web search, coding, and visual reasoning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Benchmark performance</a:t>
            </a:r>
            <a:r>
              <a:rPr lang="en-US" sz="1800" dirty="0">
                <a:latin typeface="+mn-lt"/>
              </a:rPr>
              <a:t>: Leads in ARC-AGI (16.2%) and top scores in Humanity’s Last Exam with tools (44.4%), but still trails GPT-4 in some standard benchmarks like MMLU and GSM8K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694FE0D-BE50-4FD4-49DB-AA015AF33AA0}"/>
              </a:ext>
            </a:extLst>
          </p:cNvPr>
          <p:cNvSpPr txBox="1"/>
          <p:nvPr/>
        </p:nvSpPr>
        <p:spPr>
          <a:xfrm>
            <a:off x="439259" y="5743323"/>
            <a:ext cx="6070398" cy="646331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Grok 4 combines high-end performance with unique philosophical and technical design choices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CD1FB89-B79A-68F5-F382-C74873F11F94}"/>
              </a:ext>
            </a:extLst>
          </p:cNvPr>
          <p:cNvSpPr txBox="1"/>
          <p:nvPr/>
        </p:nvSpPr>
        <p:spPr>
          <a:xfrm>
            <a:off x="6966946" y="4924544"/>
            <a:ext cx="464178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pPr>
              <a:buClr>
                <a:srgbClr val="005471"/>
              </a:buClr>
            </a:pPr>
            <a:endParaRPr lang="en-US" sz="1400" dirty="0"/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s-ES" sz="1400" dirty="0">
                <a:hlinkClick r:id="rId3"/>
              </a:rPr>
              <a:t>https://x.com/i/broadcasts/1lDGLzplWnyxm</a:t>
            </a:r>
            <a:endParaRPr lang="es-ES" sz="1400" dirty="0"/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4100" name="Picture 4" descr="Grok 1">
            <a:extLst>
              <a:ext uri="{FF2B5EF4-FFF2-40B4-BE49-F238E27FC236}">
                <a16:creationId xmlns:a16="http://schemas.microsoft.com/office/drawing/2014/main" id="{02698ACE-22F3-BAF1-4A72-7DF4725D4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247" y="1680154"/>
            <a:ext cx="4516585" cy="279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204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C994A-27E3-A86E-CE9E-C2881A2C6F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748080-A24C-C8C7-404B-5CE92FB764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2) Reasoning for No Reason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FF637865-3E85-3203-374B-2C19432A6B73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070398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Researchers at Anthropic showed that when large language models are influenced by misleading hints, they often fail to acknowledge those hints in their reasoning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Method</a:t>
            </a:r>
            <a:r>
              <a:rPr lang="en-US" sz="1800" dirty="0">
                <a:latin typeface="+mn-lt"/>
              </a:rPr>
              <a:t>: Claude 3.7 and DeepSeek-R1 were prompted with misleading cues; even when the model’s answer aligned with the hint, it rarely cited it in its chain of thought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Findings</a:t>
            </a:r>
            <a:r>
              <a:rPr lang="en-US" sz="1800" dirty="0">
                <a:latin typeface="+mn-lt"/>
              </a:rPr>
              <a:t>: In such cases, Claude referenced the hint only 25% of the time, DeepSeek R1 only 39%—raising doubts about how much reasoning chains reveal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E110A49-BF26-C4C7-616A-D4DC80F98B09}"/>
              </a:ext>
            </a:extLst>
          </p:cNvPr>
          <p:cNvSpPr txBox="1"/>
          <p:nvPr/>
        </p:nvSpPr>
        <p:spPr>
          <a:xfrm>
            <a:off x="439259" y="5489323"/>
            <a:ext cx="6070398" cy="120032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Chains of thought are often used to make LLMs appear interpretable—but they may not reliably reflect how decisions are made. Transparency in AI reasoning remains a key challenge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CE7AFCD-8BA0-57CC-92DA-5259FF6D04FC}"/>
              </a:ext>
            </a:extLst>
          </p:cNvPr>
          <p:cNvSpPr txBox="1"/>
          <p:nvPr/>
        </p:nvSpPr>
        <p:spPr>
          <a:xfrm>
            <a:off x="6917677" y="4508204"/>
            <a:ext cx="4761068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s-ES" sz="1400" dirty="0">
                <a:hlinkClick r:id="rId3"/>
              </a:rPr>
              <a:t>https://www.anthropic.com/research/reasoning-models-dont-say-think?utm_campaign=The%20Batch&amp;utm_medium=email&amp;_hsenc=p2ANqtz-_rZC4gn9lPVCxN2WNZtA_-6wJd32DTWIqo0OFuimwhHkXff8Rgj0l66Nu9lqSgighIEVQgvALCdox3zQ-KYpY-BgGiUgX1Ctz47IMlJUrnooA9V54&amp;_hsmi=369583020&amp;utm_content=369576782&amp;utm_source=hs_email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5" name="Imagen 4" descr="Diagram comparing LLM answers with and without hints, showing models may change answers without reflecting hints in reasoning steps.">
            <a:extLst>
              <a:ext uri="{FF2B5EF4-FFF2-40B4-BE49-F238E27FC236}">
                <a16:creationId xmlns:a16="http://schemas.microsoft.com/office/drawing/2014/main" id="{EB8DD207-6583-9201-3B01-632FD5164B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073" y="1531297"/>
            <a:ext cx="5030275" cy="28280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1293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D7587-9249-65BA-3591-E685C83DB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035EEC-9AC8-B71D-AB5F-8B13BF6A5F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3) Generated Data for Training Web Agents 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7F3A3E6B-049F-605D-9A22-A38D364AFB3E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070398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Researchers from Carnegie Mellon and Amazon created a large, auto-generated dataset to train web-based AI agents—enabling smaller models to outperform larger ones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Automated dataset</a:t>
            </a:r>
            <a:r>
              <a:rPr lang="en-US" sz="1800" dirty="0">
                <a:latin typeface="+mn-lt"/>
              </a:rPr>
              <a:t>: Used Qwen3-235B to generate 10,500 validated web task examples from Common Crawl (e.g., price comparisons, browsing)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Fine-tuning results</a:t>
            </a:r>
            <a:r>
              <a:rPr lang="en-US" sz="1800" dirty="0">
                <a:latin typeface="+mn-lt"/>
              </a:rPr>
              <a:t>: Qwen3-1.7B, trained on this data, outperformed stock versions and rivaled much larger models on web navigation benchmark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Open access</a:t>
            </a:r>
            <a:r>
              <a:rPr lang="en-US" sz="1800" dirty="0">
                <a:latin typeface="+mn-lt"/>
              </a:rPr>
              <a:t>: Dataset and methodology released under MIT license for commercial and non-commercial use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D235F53-2B5B-5D30-E390-E1F1E98DDD46}"/>
              </a:ext>
            </a:extLst>
          </p:cNvPr>
          <p:cNvSpPr txBox="1"/>
          <p:nvPr/>
        </p:nvSpPr>
        <p:spPr>
          <a:xfrm>
            <a:off x="439259" y="5244772"/>
            <a:ext cx="6070398" cy="1477328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This work reduces reliance on manually annotated agentic data and shows that smaller models—when trained well—can challenge much larger systems. A foundational advance in making web agents more scalable and accessible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C7BA4D6-FEDC-25EB-0371-FF4CD00D153F}"/>
              </a:ext>
            </a:extLst>
          </p:cNvPr>
          <p:cNvSpPr txBox="1"/>
          <p:nvPr/>
        </p:nvSpPr>
        <p:spPr>
          <a:xfrm>
            <a:off x="6892216" y="5531276"/>
            <a:ext cx="464178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hlinkClick r:id="rId3"/>
              </a:rPr>
              <a:t>[2502.06776] </a:t>
            </a:r>
            <a:r>
              <a:rPr lang="en-US" sz="1400" dirty="0" err="1">
                <a:hlinkClick r:id="rId3"/>
              </a:rPr>
              <a:t>InSTA</a:t>
            </a:r>
            <a:r>
              <a:rPr lang="en-US" sz="1400" dirty="0">
                <a:hlinkClick r:id="rId3"/>
              </a:rPr>
              <a:t>: Towards Internet-Scale Training For Agents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3" name="Imagen 2" descr="Diagram showing how LLM agents generate, attempt, and evaluate web-based tasks across websites using automated browser actions.">
            <a:extLst>
              <a:ext uri="{FF2B5EF4-FFF2-40B4-BE49-F238E27FC236}">
                <a16:creationId xmlns:a16="http://schemas.microsoft.com/office/drawing/2014/main" id="{C19F3841-54E9-5FB9-8D68-B299C9450E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16" y="1940442"/>
            <a:ext cx="5284366" cy="29771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40436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694F9-C5A9-0ACB-DF93-253D3E010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6CA6FA-B8EC-D11B-3887-B85D86E269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4) The AI Browser Wars Begin: Browsers Become Agents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19F62A05-CB88-6E4D-188A-D97E9AC70115}"/>
              </a:ext>
            </a:extLst>
          </p:cNvPr>
          <p:cNvSpPr txBox="1">
            <a:spLocks/>
          </p:cNvSpPr>
          <p:nvPr/>
        </p:nvSpPr>
        <p:spPr>
          <a:xfrm>
            <a:off x="439260" y="1355024"/>
            <a:ext cx="6888640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Startups and AI leaders are racing to redefine the browser as an AI assistant that can observe, interpret, and act on user activity in real time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Key launches</a:t>
            </a:r>
            <a:r>
              <a:rPr lang="en-US" sz="1800" dirty="0">
                <a:latin typeface="+mn-lt"/>
              </a:rPr>
              <a:t>: Dia (June), Comet by Perplexity (July), and a rumored OpenAI browser expected so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Functional shift</a:t>
            </a:r>
            <a:r>
              <a:rPr lang="en-US" sz="1800" dirty="0">
                <a:latin typeface="+mn-lt"/>
              </a:rPr>
              <a:t>: From passive browsing to active assistance—Dia summarizes tab content, Comet adds task execution (e.g. editing Figma, working in Sheets), and </a:t>
            </a:r>
            <a:r>
              <a:rPr lang="en-US" sz="1800" b="1" dirty="0">
                <a:latin typeface="+mn-lt"/>
              </a:rPr>
              <a:t>OpenAI is expected to integrate reliable multi-tool agents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Strategic play</a:t>
            </a:r>
            <a:r>
              <a:rPr lang="en-US" sz="1800" dirty="0">
                <a:latin typeface="+mn-lt"/>
              </a:rPr>
              <a:t>: The browser is the digital “front door”—owning it means controlling the user session, accessing behavioral data, and influencing monetiza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Challenges remain</a:t>
            </a:r>
            <a:r>
              <a:rPr lang="en-US" sz="1800" dirty="0">
                <a:latin typeface="+mn-lt"/>
              </a:rPr>
              <a:t>: Limitations in action reliability and context management across tabs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148A117-1F84-C5D4-E280-D9CB9235B86B}"/>
              </a:ext>
            </a:extLst>
          </p:cNvPr>
          <p:cNvSpPr txBox="1"/>
          <p:nvPr/>
        </p:nvSpPr>
        <p:spPr>
          <a:xfrm>
            <a:off x="439258" y="5502976"/>
            <a:ext cx="6888639" cy="120032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The browser could become the central interface for AI-human collaboration, replacing isolated apps with persistent, multi-tasking agents. Whoever wins this war may shape how we interact with the web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72B87D5-CC0A-C78C-011A-F2E8031B33BC}"/>
              </a:ext>
            </a:extLst>
          </p:cNvPr>
          <p:cNvSpPr txBox="1"/>
          <p:nvPr/>
        </p:nvSpPr>
        <p:spPr>
          <a:xfrm>
            <a:off x="7565759" y="4508204"/>
            <a:ext cx="411298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hlinkClick r:id="rId3"/>
              </a:rPr>
              <a:t>Perplexity launches Comet, an AI-powered web browser | TechCrunch</a:t>
            </a:r>
            <a:endParaRPr lang="es-ES" sz="1400" dirty="0"/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1028" name="Picture 4" descr="Comet, el nuevo navegador de Perplexity para la era de la IA | WIRED">
            <a:extLst>
              <a:ext uri="{FF2B5EF4-FFF2-40B4-BE49-F238E27FC236}">
                <a16:creationId xmlns:a16="http://schemas.microsoft.com/office/drawing/2014/main" id="{B10878DF-E04D-D239-A88A-55F4DDE31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5759" y="2044700"/>
            <a:ext cx="4171826" cy="2346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2332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CB76B-A682-7915-F78F-CFE11BA453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37F899-FA53-4C24-4646-4B6B9E90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5) Google’s ChatGPT Challenge: AI Shifts the Search Landscape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1066E964-838A-CADB-44E4-9CC80E76975A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070398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OpenAI’s ChatGPT is reshaping how users access information—posing a direct threat to Google’s core search business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User behavior is shifting</a:t>
            </a:r>
            <a:r>
              <a:rPr lang="en-US" sz="1800" dirty="0">
                <a:latin typeface="+mn-lt"/>
              </a:rPr>
              <a:t>: ChatGPT is replacing Google for search, coding, and content tasks, with users spending more time per sess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Time spent matters</a:t>
            </a:r>
            <a:r>
              <a:rPr lang="en-US" sz="1800" dirty="0">
                <a:latin typeface="+mn-lt"/>
              </a:rPr>
              <a:t>: ChatGPT users spend more average time per session than Google Search, hinting at deeper engagement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Brand and product momentum favor OpenAI</a:t>
            </a:r>
            <a:r>
              <a:rPr lang="en-US" sz="1800" dirty="0">
                <a:latin typeface="+mn-lt"/>
              </a:rPr>
              <a:t>, despite Google’s strong AI capabilities with Gemini 1.5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Google faces internal hesitation</a:t>
            </a:r>
            <a:r>
              <a:rPr lang="en-US" sz="1800" dirty="0">
                <a:latin typeface="+mn-lt"/>
              </a:rPr>
              <a:t>: fear of cannibalizing search slows AI integration across its products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F66483D-300F-864B-E899-DF51DDBEE45B}"/>
              </a:ext>
            </a:extLst>
          </p:cNvPr>
          <p:cNvSpPr txBox="1"/>
          <p:nvPr/>
        </p:nvSpPr>
        <p:spPr>
          <a:xfrm>
            <a:off x="439259" y="5489323"/>
            <a:ext cx="6070398" cy="92333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Google’s leadership in search is no longer guaranteed. The company must move decisively or risk falling behind in the AI-first user experience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C231F40-ED21-060A-0A17-1851668B7FFA}"/>
              </a:ext>
            </a:extLst>
          </p:cNvPr>
          <p:cNvSpPr txBox="1"/>
          <p:nvPr/>
        </p:nvSpPr>
        <p:spPr>
          <a:xfrm>
            <a:off x="6892215" y="5729682"/>
            <a:ext cx="464178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hlinkClick r:id="rId3"/>
              </a:rPr>
              <a:t>🤔 How serious is Google’s ChatGPT problem?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3" name="Imagen 2" descr="Gráfico, Gráfico de líneas&#10;&#10;El contenido generado por IA puede ser incorrecto.">
            <a:hlinkClick r:id="rId4" tgtFrame="_blank"/>
            <a:extLst>
              <a:ext uri="{FF2B5EF4-FFF2-40B4-BE49-F238E27FC236}">
                <a16:creationId xmlns:a16="http://schemas.microsoft.com/office/drawing/2014/main" id="{AA784D99-A021-C9BF-CEF1-ACFA854EBD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216" y="1647124"/>
            <a:ext cx="4641783" cy="261627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65633E8-3AF8-5AF3-3163-768E7D5D8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214" y="3575938"/>
            <a:ext cx="3261605" cy="234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159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9ADE1-B3D7-1349-0369-9D7CB7EAB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2F6C1D-FEDC-702C-5020-F94D872F3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259" y="939173"/>
            <a:ext cx="11309829" cy="740981"/>
          </a:xfrm>
        </p:spPr>
        <p:txBody>
          <a:bodyPr/>
          <a:lstStyle/>
          <a:p>
            <a:pPr algn="just"/>
            <a:r>
              <a:rPr lang="en-US" dirty="0"/>
              <a:t>1.6) Mistral Eyes $1B Raise as Open-Weight Models Gain Strategic Backing</a:t>
            </a:r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646AC361-A9CD-B09B-FD22-3A537C56C047}"/>
              </a:ext>
            </a:extLst>
          </p:cNvPr>
          <p:cNvSpPr txBox="1">
            <a:spLocks/>
          </p:cNvSpPr>
          <p:nvPr/>
        </p:nvSpPr>
        <p:spPr>
          <a:xfrm>
            <a:off x="439260" y="1647124"/>
            <a:ext cx="6452956" cy="43345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742950" rtl="0" eaLnBrk="1" latinLnBrk="0" hangingPunct="1">
              <a:lnSpc>
                <a:spcPct val="100000"/>
              </a:lnSpc>
              <a:spcBef>
                <a:spcPts val="813"/>
              </a:spcBef>
              <a:buFont typeface="Arial" panose="020B0604020202020204" pitchFamily="34" charset="0"/>
              <a:buNone/>
              <a:defRPr sz="1200" i="0" kern="1200" baseline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Arial" panose="020B0604020202020204" pitchFamily="34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None/>
              <a:defRPr sz="178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C00000"/>
              </a:buClr>
            </a:pPr>
            <a:r>
              <a:rPr lang="en-US" sz="1800" dirty="0">
                <a:latin typeface="+mn-lt"/>
              </a:rPr>
              <a:t>French AI startup Mistral is reportedly in talks to raise $1 billion in new funding—less than a year after its founding—highlighting growing investor interest in open-weight AI alternatives to U.S. giants.</a:t>
            </a:r>
            <a:endParaRPr lang="en-US" sz="1800" b="1" dirty="0">
              <a:latin typeface="+mn-lt"/>
            </a:endParaRP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Backers lining up</a:t>
            </a:r>
            <a:r>
              <a:rPr lang="en-US" sz="1800" dirty="0">
                <a:latin typeface="+mn-lt"/>
              </a:rPr>
              <a:t>: Microsoft’s MGX fund is among the firms in discussions to join the round, alongside other global investors. 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Model strategy</a:t>
            </a:r>
            <a:r>
              <a:rPr lang="en-US" sz="1800" dirty="0">
                <a:latin typeface="+mn-lt"/>
              </a:rPr>
              <a:t>: Mistral has focused on releasing performant open-weight LLMs—positioning itself as a European champion of transparency and innovation.</a:t>
            </a:r>
          </a:p>
          <a:p>
            <a:pPr marL="285750" indent="-2857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1" dirty="0">
                <a:latin typeface="+mn-lt"/>
              </a:rPr>
              <a:t>Valuation trend</a:t>
            </a:r>
            <a:r>
              <a:rPr lang="en-US" sz="1800" dirty="0">
                <a:latin typeface="+mn-lt"/>
              </a:rPr>
              <a:t>: The raise would reportedly push Mistral’s valuation to $5–6 billion, up from $2 billion earlier this year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808C393-A724-2032-9DE8-0B1B1BCFE463}"/>
              </a:ext>
            </a:extLst>
          </p:cNvPr>
          <p:cNvSpPr txBox="1"/>
          <p:nvPr/>
        </p:nvSpPr>
        <p:spPr>
          <a:xfrm>
            <a:off x="439259" y="5243037"/>
            <a:ext cx="6452955" cy="1477328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chemeClr val="bg1"/>
                </a:solidFill>
                <a:latin typeface="Santander Text" panose="020B0504020201020104" pitchFamily="34" charset="0"/>
              </a:rPr>
              <a:t>Why it matters:</a:t>
            </a:r>
            <a:r>
              <a:rPr lang="en-US" dirty="0">
                <a:solidFill>
                  <a:schemeClr val="bg1"/>
                </a:solidFill>
                <a:latin typeface="Santander Text" panose="020B0504020201020104" pitchFamily="34" charset="0"/>
              </a:rPr>
              <a:t> In a landscape dominated by closed AI platforms, Mistral represents a bold bet on open access, European innovation, and strategic independence. Its rapid rise reflects the momentum behind high-performance open models—and the geopolitical appetite to support them.</a:t>
            </a:r>
            <a:endParaRPr lang="es-ES" dirty="0">
              <a:solidFill>
                <a:schemeClr val="bg1"/>
              </a:solidFill>
              <a:latin typeface="Santander Text" panose="020B05040202010201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411F693-FDAB-4FEE-A7CF-AF434D3FE9C7}"/>
              </a:ext>
            </a:extLst>
          </p:cNvPr>
          <p:cNvSpPr txBox="1"/>
          <p:nvPr/>
        </p:nvSpPr>
        <p:spPr>
          <a:xfrm>
            <a:off x="7107305" y="5334051"/>
            <a:ext cx="464178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latin typeface="Santander Text" panose="020B0504020201020104" pitchFamily="34" charset="0"/>
              </a:rPr>
              <a:t>Links:</a:t>
            </a:r>
          </a:p>
          <a:p>
            <a:endParaRPr lang="en-US" sz="1400" b="1" dirty="0">
              <a:latin typeface="Santander Text" panose="020B0504020201020104" pitchFamily="34" charset="0"/>
            </a:endParaRPr>
          </a:p>
          <a:p>
            <a:pPr marL="285750" indent="-285750">
              <a:buClr>
                <a:srgbClr val="00547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hlinkClick r:id="rId3"/>
              </a:rPr>
              <a:t>MGX in talks to participate in $1 billion Mistral fundraising — The Information</a:t>
            </a:r>
            <a:endParaRPr lang="es-E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" sz="1400" dirty="0"/>
          </a:p>
        </p:txBody>
      </p:sp>
      <p:pic>
        <p:nvPicPr>
          <p:cNvPr id="3074" name="Picture 2" descr="Mistral AI logo transparent PNG - StickPNG">
            <a:extLst>
              <a:ext uri="{FF2B5EF4-FFF2-40B4-BE49-F238E27FC236}">
                <a16:creationId xmlns:a16="http://schemas.microsoft.com/office/drawing/2014/main" id="{735AA49E-FB3C-40E5-0EDA-3BF6D00E0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1946105"/>
            <a:ext cx="2965790" cy="296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49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_Cover Pages, Cover Pages, Impact Phrases">
  <a:themeElements>
    <a:clrScheme name="SAM COLORES DEFINITIVOS">
      <a:dk1>
        <a:srgbClr val="000715"/>
      </a:dk1>
      <a:lt1>
        <a:srgbClr val="FFFFFF"/>
      </a:lt1>
      <a:dk2>
        <a:srgbClr val="E8E8E8"/>
      </a:dk2>
      <a:lt2>
        <a:srgbClr val="AEAEAE"/>
      </a:lt2>
      <a:accent1>
        <a:srgbClr val="002630"/>
      </a:accent1>
      <a:accent2>
        <a:srgbClr val="005471"/>
      </a:accent2>
      <a:accent3>
        <a:srgbClr val="EC0000"/>
      </a:accent3>
      <a:accent4>
        <a:srgbClr val="E8E8E8"/>
      </a:accent4>
      <a:accent5>
        <a:srgbClr val="9A004F"/>
      </a:accent5>
      <a:accent6>
        <a:srgbClr val="D0B047"/>
      </a:accent6>
      <a:hlink>
        <a:srgbClr val="005471"/>
      </a:hlink>
      <a:folHlink>
        <a:srgbClr val="D0D0D0"/>
      </a:folHlink>
    </a:clrScheme>
    <a:fontScheme name="SA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AM Template">
  <a:themeElements>
    <a:clrScheme name="SAM COLORES DEFINITIVOS">
      <a:dk1>
        <a:srgbClr val="000715"/>
      </a:dk1>
      <a:lt1>
        <a:srgbClr val="FFFFFF"/>
      </a:lt1>
      <a:dk2>
        <a:srgbClr val="E8E8E8"/>
      </a:dk2>
      <a:lt2>
        <a:srgbClr val="AEAEAE"/>
      </a:lt2>
      <a:accent1>
        <a:srgbClr val="002630"/>
      </a:accent1>
      <a:accent2>
        <a:srgbClr val="005471"/>
      </a:accent2>
      <a:accent3>
        <a:srgbClr val="EC0000"/>
      </a:accent3>
      <a:accent4>
        <a:srgbClr val="E8E8E8"/>
      </a:accent4>
      <a:accent5>
        <a:srgbClr val="9A004F"/>
      </a:accent5>
      <a:accent6>
        <a:srgbClr val="D0B047"/>
      </a:accent6>
      <a:hlink>
        <a:srgbClr val="005471"/>
      </a:hlink>
      <a:folHlink>
        <a:srgbClr val="D0D0D0"/>
      </a:folHlink>
    </a:clrScheme>
    <a:fontScheme name="SAM_2021">
      <a:majorFont>
        <a:latin typeface="Santander Headline Light"/>
        <a:ea typeface=""/>
        <a:cs typeface=""/>
      </a:majorFont>
      <a:minorFont>
        <a:latin typeface="Santander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31</Words>
  <Application>Microsoft Office PowerPoint</Application>
  <PresentationFormat>Panorámica</PresentationFormat>
  <Paragraphs>214</Paragraphs>
  <Slides>18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8" baseType="lpstr">
      <vt:lpstr>Santander Headline</vt:lpstr>
      <vt:lpstr>Arial</vt:lpstr>
      <vt:lpstr>Calibri</vt:lpstr>
      <vt:lpstr>Courier New</vt:lpstr>
      <vt:lpstr>Santander Text</vt:lpstr>
      <vt:lpstr>Santander Text Light</vt:lpstr>
      <vt:lpstr>Wingdings</vt:lpstr>
      <vt:lpstr>SAM_Cover Pages, Cover Pages, Impact Phrases</vt:lpstr>
      <vt:lpstr>SAM Template</vt:lpstr>
      <vt:lpstr>think-cell Slide</vt:lpstr>
      <vt:lpstr>Presentación de PowerPoint</vt:lpstr>
      <vt:lpstr>Presentación de PowerPoint</vt:lpstr>
      <vt:lpstr>1) Recent updates in AI</vt:lpstr>
      <vt:lpstr>1.1) Grok 4: xAI’s Multimodal Model Challenges the Frontier of AGI</vt:lpstr>
      <vt:lpstr>1.2) Reasoning for No Reason</vt:lpstr>
      <vt:lpstr>1.3) Generated Data for Training Web Agents </vt:lpstr>
      <vt:lpstr>1.4) The AI Browser Wars Begin: Browsers Become Agents</vt:lpstr>
      <vt:lpstr>1.5) Google’s ChatGPT Challenge: AI Shifts the Search Landscape</vt:lpstr>
      <vt:lpstr>1.6) Mistral Eyes $1B Raise as Open-Weight Models Gain Strategic Backing</vt:lpstr>
      <vt:lpstr>Presentación de PowerPoint</vt:lpstr>
      <vt:lpstr>Presentación de PowerPoint</vt:lpstr>
      <vt:lpstr>Presentación de PowerPoint</vt:lpstr>
      <vt:lpstr>2.3) Python built AI agents: News Content and Research Analysis - Step 2 output: Research summary</vt:lpstr>
      <vt:lpstr>2.3) Python built AI agents: News Content and Research Analysis - Step 4 output: Automated Repor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Karina Chocano Palomino</dc:creator>
  <cp:lastModifiedBy>Munarriz Herrador Iñaki</cp:lastModifiedBy>
  <cp:revision>908</cp:revision>
  <cp:lastPrinted>2023-05-24T06:58:43Z</cp:lastPrinted>
  <dcterms:created xsi:type="dcterms:W3CDTF">2019-01-11T18:46:24Z</dcterms:created>
  <dcterms:modified xsi:type="dcterms:W3CDTF">2025-07-14T16:2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3-01-18T17:54:17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f7c9b8b4-d010-4586-8f12-2df85b2e7d54</vt:lpwstr>
  </property>
  <property fmtid="{D5CDD505-2E9C-101B-9397-08002B2CF9AE}" pid="8" name="MSIP_Label_0c2abd79-57a9-4473-8700-c843f76a1e37_ContentBits">
    <vt:lpwstr>0</vt:lpwstr>
  </property>
</Properties>
</file>